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4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</p:sldMasterIdLst>
  <p:notesMasterIdLst>
    <p:notesMasterId r:id="rId18"/>
  </p:notesMasterIdLst>
  <p:sldIdLst>
    <p:sldId id="275" r:id="rId3"/>
    <p:sldId id="13488" r:id="rId4"/>
    <p:sldId id="13489" r:id="rId5"/>
    <p:sldId id="13490" r:id="rId6"/>
    <p:sldId id="13491" r:id="rId7"/>
    <p:sldId id="13504" r:id="rId8"/>
    <p:sldId id="13493" r:id="rId9"/>
    <p:sldId id="13494" r:id="rId10"/>
    <p:sldId id="13495" r:id="rId11"/>
    <p:sldId id="13496" r:id="rId12"/>
    <p:sldId id="13497" r:id="rId13"/>
    <p:sldId id="13498" r:id="rId14"/>
    <p:sldId id="13499" r:id="rId15"/>
    <p:sldId id="13500" r:id="rId16"/>
    <p:sldId id="13501" r:id="rId1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050"/>
    <a:srgbClr val="FF0000"/>
    <a:srgbClr val="E88C12"/>
    <a:srgbClr val="F3E7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64" autoAdjust="0"/>
    <p:restoredTop sz="95431" autoAdjust="0"/>
  </p:normalViewPr>
  <p:slideViewPr>
    <p:cSldViewPr snapToGrid="0" showGuides="1">
      <p:cViewPr varScale="1">
        <p:scale>
          <a:sx n="86" d="100"/>
          <a:sy n="86" d="100"/>
        </p:scale>
        <p:origin x="72" y="48"/>
      </p:cViewPr>
      <p:guideLst>
        <p:guide orient="horz" pos="2183"/>
        <p:guide pos="3863"/>
      </p:guideLst>
    </p:cSldViewPr>
  </p:slideViewPr>
  <p:outlineViewPr>
    <p:cViewPr>
      <p:scale>
        <a:sx n="33" d="100"/>
        <a:sy n="33" d="100"/>
      </p:scale>
      <p:origin x="0" y="-453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700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d:\Users\dinghaochen\Desktop\&#25321;&#26102;&#25351;&#26631;&#20307;&#31995;\&#24773;&#32490;&#25351;&#26631;&#20998;&#25968;&#27719;&#24635;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d:\Users\dinghaochen\Desktop\&#25321;&#26102;&#25351;&#26631;&#20307;&#31995;\&#23439;&#35266;&#20307;&#31995;&#25171;&#20998;%20-%20&#30011;&#22270;&#29256;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___1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___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zh-CN" altLang="en-US"/>
              <a:t>情绪择时指标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5.2536285621905751E-2"/>
          <c:y val="4.6069581206413523E-2"/>
          <c:w val="0.9196658770290258"/>
          <c:h val="0.78235274511082609"/>
        </c:manualLayout>
      </c:layout>
      <c:lineChart>
        <c:grouping val="standard"/>
        <c:varyColors val="0"/>
        <c:ser>
          <c:idx val="0"/>
          <c:order val="0"/>
          <c:spPr>
            <a:ln w="19050">
              <a:solidFill>
                <a:srgbClr val="0070C0"/>
              </a:solidFill>
            </a:ln>
          </c:spPr>
          <c:marker>
            <c:symbol val="none"/>
          </c:marker>
          <c:cat>
            <c:strRef>
              <c:f>画图!$A$2:$A$231</c:f>
              <c:strCache>
                <c:ptCount val="23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  <c:pt idx="220">
                  <c:v>2025-12-01</c:v>
                </c:pt>
                <c:pt idx="221">
                  <c:v>2025-12-02</c:v>
                </c:pt>
                <c:pt idx="222">
                  <c:v>2025-12-03</c:v>
                </c:pt>
                <c:pt idx="223">
                  <c:v>2025-12-04</c:v>
                </c:pt>
                <c:pt idx="224">
                  <c:v>2025-12-05</c:v>
                </c:pt>
                <c:pt idx="225">
                  <c:v>2025-12-08</c:v>
                </c:pt>
                <c:pt idx="226">
                  <c:v>2025-12-09</c:v>
                </c:pt>
                <c:pt idx="227">
                  <c:v>2025-12-10</c:v>
                </c:pt>
                <c:pt idx="228">
                  <c:v>2025-12-11</c:v>
                </c:pt>
                <c:pt idx="229">
                  <c:v>2025-12-12</c:v>
                </c:pt>
              </c:strCache>
            </c:strRef>
          </c:cat>
          <c:val>
            <c:numRef>
              <c:f>画图!$B$2:$B$231</c:f>
              <c:numCache>
                <c:formatCode>General</c:formatCode>
                <c:ptCount val="230"/>
                <c:pt idx="0">
                  <c:v>-1.3181818181818183</c:v>
                </c:pt>
                <c:pt idx="1">
                  <c:v>-1.1071428571428572</c:v>
                </c:pt>
                <c:pt idx="2">
                  <c:v>0.25649350649350655</c:v>
                </c:pt>
                <c:pt idx="3">
                  <c:v>-5.194805194805209E-2</c:v>
                </c:pt>
                <c:pt idx="4">
                  <c:v>-3.2467532467532123E-3</c:v>
                </c:pt>
                <c:pt idx="5">
                  <c:v>4.5454545454545477E-2</c:v>
                </c:pt>
                <c:pt idx="6">
                  <c:v>0.64610389610389607</c:v>
                </c:pt>
                <c:pt idx="7">
                  <c:v>0.73538961038961037</c:v>
                </c:pt>
                <c:pt idx="8">
                  <c:v>1.3441558441558439</c:v>
                </c:pt>
                <c:pt idx="9">
                  <c:v>0.99512987012987009</c:v>
                </c:pt>
                <c:pt idx="10">
                  <c:v>0.93831168831168821</c:v>
                </c:pt>
                <c:pt idx="11">
                  <c:v>0.23214285714285712</c:v>
                </c:pt>
                <c:pt idx="12">
                  <c:v>0.20779220779220786</c:v>
                </c:pt>
                <c:pt idx="13">
                  <c:v>0.15909090909090898</c:v>
                </c:pt>
                <c:pt idx="14">
                  <c:v>0.12662337662337672</c:v>
                </c:pt>
                <c:pt idx="15">
                  <c:v>9.4155844155844104E-2</c:v>
                </c:pt>
                <c:pt idx="16">
                  <c:v>8.6038961038961068E-2</c:v>
                </c:pt>
                <c:pt idx="17">
                  <c:v>-0.31168831168831168</c:v>
                </c:pt>
                <c:pt idx="18">
                  <c:v>-0.32792207792207789</c:v>
                </c:pt>
                <c:pt idx="19">
                  <c:v>-0.79220779220779225</c:v>
                </c:pt>
                <c:pt idx="20">
                  <c:v>-1.8311688311688312</c:v>
                </c:pt>
                <c:pt idx="21">
                  <c:v>-0.32954545454545464</c:v>
                </c:pt>
                <c:pt idx="22">
                  <c:v>-0.71103896103896091</c:v>
                </c:pt>
                <c:pt idx="23">
                  <c:v>-0.73538961038961037</c:v>
                </c:pt>
                <c:pt idx="24">
                  <c:v>-0.75974025974025972</c:v>
                </c:pt>
                <c:pt idx="25">
                  <c:v>-0.75162337662337653</c:v>
                </c:pt>
                <c:pt idx="26">
                  <c:v>-0.8571428571428571</c:v>
                </c:pt>
                <c:pt idx="27">
                  <c:v>-1.4659090909090906</c:v>
                </c:pt>
                <c:pt idx="28">
                  <c:v>-1.4253246753246755</c:v>
                </c:pt>
                <c:pt idx="29">
                  <c:v>-1.4821428571428574</c:v>
                </c:pt>
                <c:pt idx="30">
                  <c:v>-1.6850649350649352</c:v>
                </c:pt>
                <c:pt idx="31">
                  <c:v>-1.5064935064935063</c:v>
                </c:pt>
                <c:pt idx="32">
                  <c:v>-1.125</c:v>
                </c:pt>
                <c:pt idx="33">
                  <c:v>-1.6525974025974026</c:v>
                </c:pt>
                <c:pt idx="34">
                  <c:v>-1.4253246753246753</c:v>
                </c:pt>
                <c:pt idx="35">
                  <c:v>-1.4902597402597402</c:v>
                </c:pt>
                <c:pt idx="36">
                  <c:v>-1.4253246753246755</c:v>
                </c:pt>
                <c:pt idx="37">
                  <c:v>-1.3603896103896105</c:v>
                </c:pt>
                <c:pt idx="38">
                  <c:v>-1.2954545454545454</c:v>
                </c:pt>
                <c:pt idx="39">
                  <c:v>-1.6850649350649349</c:v>
                </c:pt>
                <c:pt idx="40">
                  <c:v>-1.4821428571428572</c:v>
                </c:pt>
                <c:pt idx="41">
                  <c:v>-1.4253246753246753</c:v>
                </c:pt>
                <c:pt idx="42">
                  <c:v>-1.3685064935064937</c:v>
                </c:pt>
                <c:pt idx="43">
                  <c:v>-1.4090909090909089</c:v>
                </c:pt>
                <c:pt idx="44">
                  <c:v>-1.8798701298701299</c:v>
                </c:pt>
                <c:pt idx="45">
                  <c:v>-1.8149350649350648</c:v>
                </c:pt>
                <c:pt idx="46">
                  <c:v>-2.0990259740259742</c:v>
                </c:pt>
                <c:pt idx="47">
                  <c:v>-2.0259740259740258</c:v>
                </c:pt>
                <c:pt idx="48">
                  <c:v>-1.7175324675324677</c:v>
                </c:pt>
                <c:pt idx="49">
                  <c:v>-1.7987012987012985</c:v>
                </c:pt>
                <c:pt idx="50">
                  <c:v>-1.75</c:v>
                </c:pt>
                <c:pt idx="51">
                  <c:v>-1.6850649350649349</c:v>
                </c:pt>
                <c:pt idx="52">
                  <c:v>-1.6038961038961037</c:v>
                </c:pt>
                <c:pt idx="53">
                  <c:v>-1.5227272727272729</c:v>
                </c:pt>
                <c:pt idx="54">
                  <c:v>-1.4902597402597402</c:v>
                </c:pt>
                <c:pt idx="55">
                  <c:v>-1.7824675324675325</c:v>
                </c:pt>
                <c:pt idx="56">
                  <c:v>-1.0746753246753247</c:v>
                </c:pt>
                <c:pt idx="57">
                  <c:v>-1.279220779220779</c:v>
                </c:pt>
                <c:pt idx="58">
                  <c:v>-1.2305194805194808</c:v>
                </c:pt>
                <c:pt idx="59">
                  <c:v>-1.1493506493506493</c:v>
                </c:pt>
                <c:pt idx="60">
                  <c:v>0.99025974025974028</c:v>
                </c:pt>
                <c:pt idx="61">
                  <c:v>1.7857142857142858</c:v>
                </c:pt>
                <c:pt idx="62">
                  <c:v>1.5389610389610391</c:v>
                </c:pt>
                <c:pt idx="63">
                  <c:v>2.448051948051948</c:v>
                </c:pt>
                <c:pt idx="64">
                  <c:v>2.3344155844155847</c:v>
                </c:pt>
                <c:pt idx="65">
                  <c:v>2.2207792207792205</c:v>
                </c:pt>
                <c:pt idx="66">
                  <c:v>2.1071428571428568</c:v>
                </c:pt>
                <c:pt idx="67">
                  <c:v>1.3441558441558443</c:v>
                </c:pt>
                <c:pt idx="68">
                  <c:v>0.28896103896103903</c:v>
                </c:pt>
                <c:pt idx="69">
                  <c:v>0.19155844155844171</c:v>
                </c:pt>
                <c:pt idx="70">
                  <c:v>0.12662337662337655</c:v>
                </c:pt>
                <c:pt idx="71">
                  <c:v>9.4155844155844257E-2</c:v>
                </c:pt>
                <c:pt idx="72">
                  <c:v>1.2987012987013038E-2</c:v>
                </c:pt>
                <c:pt idx="73">
                  <c:v>-3.5714285714285809E-2</c:v>
                </c:pt>
                <c:pt idx="74">
                  <c:v>-6.8181818181818218E-2</c:v>
                </c:pt>
                <c:pt idx="75">
                  <c:v>-0.14935064935064929</c:v>
                </c:pt>
                <c:pt idx="76">
                  <c:v>-0.18181818181818185</c:v>
                </c:pt>
                <c:pt idx="77">
                  <c:v>-0.21428571428571438</c:v>
                </c:pt>
                <c:pt idx="78">
                  <c:v>0.13311688311688305</c:v>
                </c:pt>
                <c:pt idx="79">
                  <c:v>6.8181818181818094E-2</c:v>
                </c:pt>
                <c:pt idx="80">
                  <c:v>-0.32142857142857151</c:v>
                </c:pt>
                <c:pt idx="81">
                  <c:v>-1.0844155844155843</c:v>
                </c:pt>
                <c:pt idx="82">
                  <c:v>-1.1493506493506493</c:v>
                </c:pt>
                <c:pt idx="83">
                  <c:v>-1.2142857142857142</c:v>
                </c:pt>
                <c:pt idx="84">
                  <c:v>-1.198051948051948</c:v>
                </c:pt>
                <c:pt idx="85">
                  <c:v>-1.1818181818181819</c:v>
                </c:pt>
                <c:pt idx="86">
                  <c:v>-0.80844155844155841</c:v>
                </c:pt>
                <c:pt idx="87">
                  <c:v>-1.1493506493506493</c:v>
                </c:pt>
                <c:pt idx="88">
                  <c:v>-1.1331168831168832</c:v>
                </c:pt>
                <c:pt idx="89">
                  <c:v>-1.1168831168831168</c:v>
                </c:pt>
                <c:pt idx="90">
                  <c:v>-1.2142857142857142</c:v>
                </c:pt>
                <c:pt idx="91">
                  <c:v>-1.5714285714285714</c:v>
                </c:pt>
                <c:pt idx="92">
                  <c:v>-1.5389610389610391</c:v>
                </c:pt>
                <c:pt idx="93">
                  <c:v>-1.5064935064935068</c:v>
                </c:pt>
                <c:pt idx="94">
                  <c:v>-1.474025974025974</c:v>
                </c:pt>
                <c:pt idx="95">
                  <c:v>-1.4415584415584415</c:v>
                </c:pt>
                <c:pt idx="96">
                  <c:v>-1.5389610389610389</c:v>
                </c:pt>
                <c:pt idx="97">
                  <c:v>-1.474025974025974</c:v>
                </c:pt>
                <c:pt idx="98">
                  <c:v>-1.5064935064935068</c:v>
                </c:pt>
                <c:pt idx="99">
                  <c:v>-1.474025974025974</c:v>
                </c:pt>
                <c:pt idx="100">
                  <c:v>-1.4415584415584415</c:v>
                </c:pt>
                <c:pt idx="101">
                  <c:v>-1.4090909090909089</c:v>
                </c:pt>
                <c:pt idx="102">
                  <c:v>-1.3766233766233766</c:v>
                </c:pt>
                <c:pt idx="103">
                  <c:v>-1.3441558441558443</c:v>
                </c:pt>
                <c:pt idx="104">
                  <c:v>-1.3116883116883116</c:v>
                </c:pt>
                <c:pt idx="105">
                  <c:v>-1.1818181818181817</c:v>
                </c:pt>
                <c:pt idx="106">
                  <c:v>-1.2142857142857142</c:v>
                </c:pt>
                <c:pt idx="107">
                  <c:v>-1.2142857142857142</c:v>
                </c:pt>
                <c:pt idx="108">
                  <c:v>-1.5714285714285714</c:v>
                </c:pt>
                <c:pt idx="109">
                  <c:v>-1.5714285714285714</c:v>
                </c:pt>
                <c:pt idx="110">
                  <c:v>-1.1818181818181817</c:v>
                </c:pt>
                <c:pt idx="111">
                  <c:v>-1.1331168831168832</c:v>
                </c:pt>
                <c:pt idx="112">
                  <c:v>-1.1818181818181819</c:v>
                </c:pt>
                <c:pt idx="113">
                  <c:v>-1.5584415584415585</c:v>
                </c:pt>
                <c:pt idx="114">
                  <c:v>-1.3279220779220779</c:v>
                </c:pt>
                <c:pt idx="115">
                  <c:v>-1.3928571428571428</c:v>
                </c:pt>
                <c:pt idx="116">
                  <c:v>-1.3766233766233766</c:v>
                </c:pt>
                <c:pt idx="117">
                  <c:v>-1.3522727272727273</c:v>
                </c:pt>
                <c:pt idx="118">
                  <c:v>-1.3279220779220782</c:v>
                </c:pt>
                <c:pt idx="119">
                  <c:v>-1.3035714285714286</c:v>
                </c:pt>
                <c:pt idx="120">
                  <c:v>-1.5746753246753247</c:v>
                </c:pt>
                <c:pt idx="121">
                  <c:v>-1.5503246753246753</c:v>
                </c:pt>
                <c:pt idx="122">
                  <c:v>-2.2402597402597406</c:v>
                </c:pt>
                <c:pt idx="123">
                  <c:v>-2.1672077922077917</c:v>
                </c:pt>
                <c:pt idx="124">
                  <c:v>-2.1266233766233769</c:v>
                </c:pt>
                <c:pt idx="125">
                  <c:v>-2.1428571428571428</c:v>
                </c:pt>
                <c:pt idx="126">
                  <c:v>-2.0860389610389611</c:v>
                </c:pt>
                <c:pt idx="127">
                  <c:v>-2.1428571428571428</c:v>
                </c:pt>
                <c:pt idx="128">
                  <c:v>-2.1103896103896105</c:v>
                </c:pt>
                <c:pt idx="129">
                  <c:v>-1.9318181818181819</c:v>
                </c:pt>
                <c:pt idx="130">
                  <c:v>-2.3051948051948052</c:v>
                </c:pt>
                <c:pt idx="131">
                  <c:v>-1.5746753246753247</c:v>
                </c:pt>
                <c:pt idx="132">
                  <c:v>-1.7532467532467533</c:v>
                </c:pt>
                <c:pt idx="133">
                  <c:v>-1.5746753246753245</c:v>
                </c:pt>
                <c:pt idx="134">
                  <c:v>-2.1103896103896105</c:v>
                </c:pt>
                <c:pt idx="135">
                  <c:v>-2.2240259740259742</c:v>
                </c:pt>
                <c:pt idx="136">
                  <c:v>-2.3701298701298703</c:v>
                </c:pt>
                <c:pt idx="137">
                  <c:v>-2.3376623376623376</c:v>
                </c:pt>
                <c:pt idx="138">
                  <c:v>-2.1753246753246751</c:v>
                </c:pt>
                <c:pt idx="139">
                  <c:v>-2.3051948051948052</c:v>
                </c:pt>
                <c:pt idx="140">
                  <c:v>-2.6055194805194803</c:v>
                </c:pt>
                <c:pt idx="141">
                  <c:v>-2.2564935064935066</c:v>
                </c:pt>
                <c:pt idx="142">
                  <c:v>-2.5568181818181821</c:v>
                </c:pt>
                <c:pt idx="143">
                  <c:v>-3.0844155844155843</c:v>
                </c:pt>
                <c:pt idx="144">
                  <c:v>-3.0113636363636362</c:v>
                </c:pt>
                <c:pt idx="145">
                  <c:v>-2.9951298701298699</c:v>
                </c:pt>
                <c:pt idx="146">
                  <c:v>-3.1087662337662336</c:v>
                </c:pt>
                <c:pt idx="147">
                  <c:v>-2.8571428571428572</c:v>
                </c:pt>
                <c:pt idx="148">
                  <c:v>-3.3928571428571428</c:v>
                </c:pt>
                <c:pt idx="149">
                  <c:v>-2.4350649350649354</c:v>
                </c:pt>
                <c:pt idx="150">
                  <c:v>-2.3701298701298699</c:v>
                </c:pt>
                <c:pt idx="151">
                  <c:v>-3.3766233766233769</c:v>
                </c:pt>
                <c:pt idx="152">
                  <c:v>-3.3116883116883118</c:v>
                </c:pt>
                <c:pt idx="153">
                  <c:v>-3.0681818181818179</c:v>
                </c:pt>
                <c:pt idx="154">
                  <c:v>-3.279220779220779</c:v>
                </c:pt>
                <c:pt idx="155">
                  <c:v>-3.5876623376623376</c:v>
                </c:pt>
                <c:pt idx="156">
                  <c:v>-3.5389610389610389</c:v>
                </c:pt>
                <c:pt idx="157">
                  <c:v>-3.4902597402597406</c:v>
                </c:pt>
                <c:pt idx="158">
                  <c:v>-3.0844155844155843</c:v>
                </c:pt>
                <c:pt idx="159">
                  <c:v>-3.0357142857142856</c:v>
                </c:pt>
                <c:pt idx="160">
                  <c:v>-2.9707792207792205</c:v>
                </c:pt>
                <c:pt idx="161">
                  <c:v>-2.9383116883116887</c:v>
                </c:pt>
                <c:pt idx="162">
                  <c:v>-2.5162337662337664</c:v>
                </c:pt>
                <c:pt idx="163">
                  <c:v>-2.5974025974025978</c:v>
                </c:pt>
                <c:pt idx="164">
                  <c:v>-1.8344155844155843</c:v>
                </c:pt>
                <c:pt idx="165">
                  <c:v>-2.2970779220779218</c:v>
                </c:pt>
                <c:pt idx="166">
                  <c:v>-2.2402597402597402</c:v>
                </c:pt>
                <c:pt idx="167">
                  <c:v>-1.9886363636363638</c:v>
                </c:pt>
                <c:pt idx="168">
                  <c:v>-2.1915584415584415</c:v>
                </c:pt>
                <c:pt idx="169">
                  <c:v>-2.1509740259740262</c:v>
                </c:pt>
                <c:pt idx="170">
                  <c:v>-2.1103896103896105</c:v>
                </c:pt>
                <c:pt idx="171">
                  <c:v>-2.0698051948051948</c:v>
                </c:pt>
                <c:pt idx="172">
                  <c:v>-2.0779220779220777</c:v>
                </c:pt>
                <c:pt idx="173">
                  <c:v>-2.0373376623376624</c:v>
                </c:pt>
                <c:pt idx="174">
                  <c:v>-2.7110389610389616</c:v>
                </c:pt>
                <c:pt idx="175">
                  <c:v>-1.8879870129870133</c:v>
                </c:pt>
                <c:pt idx="176">
                  <c:v>-2.5974025974025978</c:v>
                </c:pt>
                <c:pt idx="177">
                  <c:v>-2.1314935064935066</c:v>
                </c:pt>
                <c:pt idx="178">
                  <c:v>-2.4512987012987009</c:v>
                </c:pt>
                <c:pt idx="179">
                  <c:v>-2.5568181818181812</c:v>
                </c:pt>
                <c:pt idx="180">
                  <c:v>-1.5876623376623376</c:v>
                </c:pt>
                <c:pt idx="181">
                  <c:v>-1.9642857142857142</c:v>
                </c:pt>
                <c:pt idx="182">
                  <c:v>-1.8993506493506493</c:v>
                </c:pt>
                <c:pt idx="183">
                  <c:v>-2.5487012987012991</c:v>
                </c:pt>
                <c:pt idx="184">
                  <c:v>-2.3051948051948052</c:v>
                </c:pt>
                <c:pt idx="185">
                  <c:v>-2.2402597402597406</c:v>
                </c:pt>
                <c:pt idx="186">
                  <c:v>-2.3831168831168834</c:v>
                </c:pt>
                <c:pt idx="187">
                  <c:v>-2.5162337662337664</c:v>
                </c:pt>
                <c:pt idx="188">
                  <c:v>-2.5</c:v>
                </c:pt>
                <c:pt idx="189">
                  <c:v>-1.2629870129870129</c:v>
                </c:pt>
                <c:pt idx="190">
                  <c:v>-1.2142857142857142</c:v>
                </c:pt>
                <c:pt idx="191">
                  <c:v>-1.5227272727272729</c:v>
                </c:pt>
                <c:pt idx="192">
                  <c:v>-1.4740259740259738</c:v>
                </c:pt>
                <c:pt idx="193">
                  <c:v>-1.7694805194805194</c:v>
                </c:pt>
                <c:pt idx="194">
                  <c:v>-2.5487012987012991</c:v>
                </c:pt>
                <c:pt idx="195">
                  <c:v>-2.6785714285714284</c:v>
                </c:pt>
                <c:pt idx="196">
                  <c:v>-2.654220779220779</c:v>
                </c:pt>
                <c:pt idx="197">
                  <c:v>-2.2727272727272729</c:v>
                </c:pt>
                <c:pt idx="198">
                  <c:v>-1.7613636363636365</c:v>
                </c:pt>
                <c:pt idx="199">
                  <c:v>-1.1818181818181819</c:v>
                </c:pt>
                <c:pt idx="200">
                  <c:v>-1.3717532467532469</c:v>
                </c:pt>
                <c:pt idx="201">
                  <c:v>-1.125</c:v>
                </c:pt>
                <c:pt idx="202">
                  <c:v>-1.1087662337662336</c:v>
                </c:pt>
                <c:pt idx="203">
                  <c:v>-1.7370129870129869</c:v>
                </c:pt>
                <c:pt idx="204">
                  <c:v>-1.8262987012987015</c:v>
                </c:pt>
                <c:pt idx="205">
                  <c:v>-1.8181818181818181</c:v>
                </c:pt>
                <c:pt idx="206">
                  <c:v>-1.8100649350649352</c:v>
                </c:pt>
                <c:pt idx="207">
                  <c:v>-1.8019480519480522</c:v>
                </c:pt>
                <c:pt idx="208">
                  <c:v>-1.7938311688311688</c:v>
                </c:pt>
                <c:pt idx="209">
                  <c:v>-1.4821428571428572</c:v>
                </c:pt>
                <c:pt idx="210">
                  <c:v>-1.4659090909090911</c:v>
                </c:pt>
                <c:pt idx="211">
                  <c:v>-1.5633116883116884</c:v>
                </c:pt>
                <c:pt idx="212">
                  <c:v>-1.5633116883116884</c:v>
                </c:pt>
                <c:pt idx="213">
                  <c:v>-1.9204545454545452</c:v>
                </c:pt>
                <c:pt idx="214">
                  <c:v>-1.0584415584415585</c:v>
                </c:pt>
                <c:pt idx="215">
                  <c:v>-1.0178571428571428</c:v>
                </c:pt>
                <c:pt idx="216">
                  <c:v>-1.0097402597402596</c:v>
                </c:pt>
                <c:pt idx="217">
                  <c:v>-1.3425324675324677</c:v>
                </c:pt>
                <c:pt idx="218">
                  <c:v>-1.3181818181818183</c:v>
                </c:pt>
                <c:pt idx="219">
                  <c:v>-1.5795454545454546</c:v>
                </c:pt>
                <c:pt idx="220">
                  <c:v>-1.2710610389610388</c:v>
                </c:pt>
                <c:pt idx="221">
                  <c:v>-1.2733597402597403</c:v>
                </c:pt>
                <c:pt idx="222">
                  <c:v>-1.0021480519480519</c:v>
                </c:pt>
                <c:pt idx="223">
                  <c:v>-1.0357935064935064</c:v>
                </c:pt>
                <c:pt idx="224">
                  <c:v>-1.2212389610389611</c:v>
                </c:pt>
                <c:pt idx="225">
                  <c:v>-2.220779220779221</c:v>
                </c:pt>
                <c:pt idx="226">
                  <c:v>-2.2045454545454546</c:v>
                </c:pt>
                <c:pt idx="227">
                  <c:v>-1.9529220779220779</c:v>
                </c:pt>
                <c:pt idx="228">
                  <c:v>-2.0324675324675323</c:v>
                </c:pt>
                <c:pt idx="229">
                  <c:v>-2.261363636363636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4B2-4341-B9D1-66DA8D05556F}"/>
            </c:ext>
          </c:extLst>
        </c:ser>
        <c:ser>
          <c:idx val="1"/>
          <c:order val="1"/>
          <c:tx>
            <c:strRef>
              <c:f>画图!$C$1</c:f>
              <c:strCache>
                <c:ptCount val="1"/>
              </c:strCache>
            </c:strRef>
          </c:tx>
          <c:spPr>
            <a:ln w="19050">
              <a:solidFill>
                <a:srgbClr val="FF0000"/>
              </a:solidFill>
              <a:prstDash val="sysDash"/>
            </a:ln>
          </c:spPr>
          <c:marker>
            <c:symbol val="none"/>
          </c:marker>
          <c:cat>
            <c:strRef>
              <c:f>画图!$A$2:$A$231</c:f>
              <c:strCache>
                <c:ptCount val="23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  <c:pt idx="220">
                  <c:v>2025-12-01</c:v>
                </c:pt>
                <c:pt idx="221">
                  <c:v>2025-12-02</c:v>
                </c:pt>
                <c:pt idx="222">
                  <c:v>2025-12-03</c:v>
                </c:pt>
                <c:pt idx="223">
                  <c:v>2025-12-04</c:v>
                </c:pt>
                <c:pt idx="224">
                  <c:v>2025-12-05</c:v>
                </c:pt>
                <c:pt idx="225">
                  <c:v>2025-12-08</c:v>
                </c:pt>
                <c:pt idx="226">
                  <c:v>2025-12-09</c:v>
                </c:pt>
                <c:pt idx="227">
                  <c:v>2025-12-10</c:v>
                </c:pt>
                <c:pt idx="228">
                  <c:v>2025-12-11</c:v>
                </c:pt>
                <c:pt idx="229">
                  <c:v>2025-12-12</c:v>
                </c:pt>
              </c:strCache>
            </c:strRef>
          </c:cat>
          <c:val>
            <c:numRef>
              <c:f>画图!$C$2:$C$231</c:f>
              <c:numCache>
                <c:formatCode>0.00_);[Red]\(0.00\)</c:formatCode>
                <c:ptCount val="230"/>
                <c:pt idx="0">
                  <c:v>-1.696</c:v>
                </c:pt>
                <c:pt idx="1">
                  <c:v>-1.696</c:v>
                </c:pt>
                <c:pt idx="2">
                  <c:v>-1.696</c:v>
                </c:pt>
                <c:pt idx="3">
                  <c:v>-1.696</c:v>
                </c:pt>
                <c:pt idx="4">
                  <c:v>-1.696</c:v>
                </c:pt>
                <c:pt idx="5">
                  <c:v>-1.696</c:v>
                </c:pt>
                <c:pt idx="6">
                  <c:v>-1.696</c:v>
                </c:pt>
                <c:pt idx="7">
                  <c:v>-1.696</c:v>
                </c:pt>
                <c:pt idx="8">
                  <c:v>-1.696</c:v>
                </c:pt>
                <c:pt idx="9">
                  <c:v>-1.696</c:v>
                </c:pt>
                <c:pt idx="10">
                  <c:v>-1.696</c:v>
                </c:pt>
                <c:pt idx="11">
                  <c:v>-1.696</c:v>
                </c:pt>
                <c:pt idx="12">
                  <c:v>-1.696</c:v>
                </c:pt>
                <c:pt idx="13">
                  <c:v>-1.696</c:v>
                </c:pt>
                <c:pt idx="14">
                  <c:v>-1.696</c:v>
                </c:pt>
                <c:pt idx="15">
                  <c:v>-1.696</c:v>
                </c:pt>
                <c:pt idx="16">
                  <c:v>-1.696</c:v>
                </c:pt>
                <c:pt idx="17">
                  <c:v>-1.696</c:v>
                </c:pt>
                <c:pt idx="18">
                  <c:v>-1.696</c:v>
                </c:pt>
                <c:pt idx="19">
                  <c:v>-1.696</c:v>
                </c:pt>
                <c:pt idx="20">
                  <c:v>-1.696</c:v>
                </c:pt>
                <c:pt idx="21">
                  <c:v>-1.696</c:v>
                </c:pt>
                <c:pt idx="22">
                  <c:v>-1.696</c:v>
                </c:pt>
                <c:pt idx="23">
                  <c:v>-1.696</c:v>
                </c:pt>
                <c:pt idx="24">
                  <c:v>-1.696</c:v>
                </c:pt>
                <c:pt idx="25">
                  <c:v>-1.696</c:v>
                </c:pt>
                <c:pt idx="26">
                  <c:v>-1.696</c:v>
                </c:pt>
                <c:pt idx="27">
                  <c:v>-1.696</c:v>
                </c:pt>
                <c:pt idx="28">
                  <c:v>-1.696</c:v>
                </c:pt>
                <c:pt idx="29">
                  <c:v>-1.696</c:v>
                </c:pt>
                <c:pt idx="30">
                  <c:v>-1.696</c:v>
                </c:pt>
                <c:pt idx="31">
                  <c:v>-1.696</c:v>
                </c:pt>
                <c:pt idx="32">
                  <c:v>-1.696</c:v>
                </c:pt>
                <c:pt idx="33">
                  <c:v>-1.696</c:v>
                </c:pt>
                <c:pt idx="34">
                  <c:v>-1.696</c:v>
                </c:pt>
                <c:pt idx="35">
                  <c:v>-1.696</c:v>
                </c:pt>
                <c:pt idx="36">
                  <c:v>-1.696</c:v>
                </c:pt>
                <c:pt idx="37">
                  <c:v>-1.696</c:v>
                </c:pt>
                <c:pt idx="38">
                  <c:v>-1.696</c:v>
                </c:pt>
                <c:pt idx="39">
                  <c:v>-1.696</c:v>
                </c:pt>
                <c:pt idx="40">
                  <c:v>-1.696</c:v>
                </c:pt>
                <c:pt idx="41">
                  <c:v>-1.696</c:v>
                </c:pt>
                <c:pt idx="42">
                  <c:v>-1.696</c:v>
                </c:pt>
                <c:pt idx="43">
                  <c:v>-1.696</c:v>
                </c:pt>
                <c:pt idx="44">
                  <c:v>-1.696</c:v>
                </c:pt>
                <c:pt idx="45">
                  <c:v>-1.696</c:v>
                </c:pt>
                <c:pt idx="46">
                  <c:v>-1.696</c:v>
                </c:pt>
                <c:pt idx="47">
                  <c:v>-1.696</c:v>
                </c:pt>
                <c:pt idx="48">
                  <c:v>-1.696</c:v>
                </c:pt>
                <c:pt idx="49">
                  <c:v>-1.696</c:v>
                </c:pt>
                <c:pt idx="50">
                  <c:v>-1.696</c:v>
                </c:pt>
                <c:pt idx="51">
                  <c:v>-1.696</c:v>
                </c:pt>
                <c:pt idx="52">
                  <c:v>-1.696</c:v>
                </c:pt>
                <c:pt idx="53">
                  <c:v>-1.696</c:v>
                </c:pt>
                <c:pt idx="54">
                  <c:v>-1.696</c:v>
                </c:pt>
                <c:pt idx="55">
                  <c:v>-1.696</c:v>
                </c:pt>
                <c:pt idx="56">
                  <c:v>-1.696</c:v>
                </c:pt>
                <c:pt idx="57">
                  <c:v>-1.696</c:v>
                </c:pt>
                <c:pt idx="58">
                  <c:v>-1.696</c:v>
                </c:pt>
                <c:pt idx="59">
                  <c:v>-1.696</c:v>
                </c:pt>
                <c:pt idx="60">
                  <c:v>-1.696</c:v>
                </c:pt>
                <c:pt idx="61">
                  <c:v>-1.696</c:v>
                </c:pt>
                <c:pt idx="62">
                  <c:v>-1.696</c:v>
                </c:pt>
                <c:pt idx="63">
                  <c:v>-1.696</c:v>
                </c:pt>
                <c:pt idx="64">
                  <c:v>-1.696</c:v>
                </c:pt>
                <c:pt idx="65">
                  <c:v>-1.696</c:v>
                </c:pt>
                <c:pt idx="66">
                  <c:v>-1.696</c:v>
                </c:pt>
                <c:pt idx="67">
                  <c:v>-1.696</c:v>
                </c:pt>
                <c:pt idx="68">
                  <c:v>-1.696</c:v>
                </c:pt>
                <c:pt idx="69">
                  <c:v>-1.696</c:v>
                </c:pt>
                <c:pt idx="70">
                  <c:v>-1.696</c:v>
                </c:pt>
                <c:pt idx="71">
                  <c:v>-1.696</c:v>
                </c:pt>
                <c:pt idx="72">
                  <c:v>-1.696</c:v>
                </c:pt>
                <c:pt idx="73">
                  <c:v>-1.696</c:v>
                </c:pt>
                <c:pt idx="74">
                  <c:v>-1.696</c:v>
                </c:pt>
                <c:pt idx="75">
                  <c:v>-1.696</c:v>
                </c:pt>
                <c:pt idx="76">
                  <c:v>-1.696</c:v>
                </c:pt>
                <c:pt idx="77">
                  <c:v>-1.696</c:v>
                </c:pt>
                <c:pt idx="78">
                  <c:v>-1.696</c:v>
                </c:pt>
                <c:pt idx="79">
                  <c:v>-1.696</c:v>
                </c:pt>
                <c:pt idx="80">
                  <c:v>-1.696</c:v>
                </c:pt>
                <c:pt idx="81">
                  <c:v>-1.696</c:v>
                </c:pt>
                <c:pt idx="82">
                  <c:v>-1.696</c:v>
                </c:pt>
                <c:pt idx="83">
                  <c:v>-1.696</c:v>
                </c:pt>
                <c:pt idx="84">
                  <c:v>-1.696</c:v>
                </c:pt>
                <c:pt idx="85">
                  <c:v>-1.696</c:v>
                </c:pt>
                <c:pt idx="86">
                  <c:v>-1.696</c:v>
                </c:pt>
                <c:pt idx="87">
                  <c:v>-1.696</c:v>
                </c:pt>
                <c:pt idx="88">
                  <c:v>-1.696</c:v>
                </c:pt>
                <c:pt idx="89">
                  <c:v>-1.696</c:v>
                </c:pt>
                <c:pt idx="90">
                  <c:v>-1.696</c:v>
                </c:pt>
                <c:pt idx="91">
                  <c:v>-1.696</c:v>
                </c:pt>
                <c:pt idx="92">
                  <c:v>-1.696</c:v>
                </c:pt>
                <c:pt idx="93">
                  <c:v>-1.696</c:v>
                </c:pt>
                <c:pt idx="94">
                  <c:v>-1.696</c:v>
                </c:pt>
                <c:pt idx="95">
                  <c:v>-1.696</c:v>
                </c:pt>
                <c:pt idx="96">
                  <c:v>-1.696</c:v>
                </c:pt>
                <c:pt idx="97">
                  <c:v>-1.696</c:v>
                </c:pt>
                <c:pt idx="98">
                  <c:v>-1.696</c:v>
                </c:pt>
                <c:pt idx="99">
                  <c:v>-1.696</c:v>
                </c:pt>
                <c:pt idx="100">
                  <c:v>-1.696</c:v>
                </c:pt>
                <c:pt idx="101">
                  <c:v>-1.696</c:v>
                </c:pt>
                <c:pt idx="102">
                  <c:v>-1.696</c:v>
                </c:pt>
                <c:pt idx="103">
                  <c:v>-1.696</c:v>
                </c:pt>
                <c:pt idx="104">
                  <c:v>-1.696</c:v>
                </c:pt>
                <c:pt idx="105">
                  <c:v>-1.696</c:v>
                </c:pt>
                <c:pt idx="106">
                  <c:v>-1.696</c:v>
                </c:pt>
                <c:pt idx="107">
                  <c:v>-1.696</c:v>
                </c:pt>
                <c:pt idx="108">
                  <c:v>-1.696</c:v>
                </c:pt>
                <c:pt idx="109">
                  <c:v>-1.696</c:v>
                </c:pt>
                <c:pt idx="110">
                  <c:v>-1.696</c:v>
                </c:pt>
                <c:pt idx="111">
                  <c:v>-1.696</c:v>
                </c:pt>
                <c:pt idx="112">
                  <c:v>-1.696</c:v>
                </c:pt>
                <c:pt idx="113">
                  <c:v>-1.696</c:v>
                </c:pt>
                <c:pt idx="114">
                  <c:v>-1.696</c:v>
                </c:pt>
                <c:pt idx="115">
                  <c:v>-1.696</c:v>
                </c:pt>
                <c:pt idx="116">
                  <c:v>-1.696</c:v>
                </c:pt>
                <c:pt idx="117">
                  <c:v>-1.696</c:v>
                </c:pt>
                <c:pt idx="118">
                  <c:v>-1.696</c:v>
                </c:pt>
                <c:pt idx="119">
                  <c:v>-1.696</c:v>
                </c:pt>
                <c:pt idx="120">
                  <c:v>-1.696</c:v>
                </c:pt>
                <c:pt idx="121">
                  <c:v>-1.696</c:v>
                </c:pt>
                <c:pt idx="122">
                  <c:v>-1.696</c:v>
                </c:pt>
                <c:pt idx="123">
                  <c:v>-1.696</c:v>
                </c:pt>
                <c:pt idx="124">
                  <c:v>-1.696</c:v>
                </c:pt>
                <c:pt idx="125">
                  <c:v>-1.696</c:v>
                </c:pt>
                <c:pt idx="126">
                  <c:v>-1.696</c:v>
                </c:pt>
                <c:pt idx="127">
                  <c:v>-1.696</c:v>
                </c:pt>
                <c:pt idx="128">
                  <c:v>-1.696</c:v>
                </c:pt>
                <c:pt idx="129">
                  <c:v>-1.696</c:v>
                </c:pt>
                <c:pt idx="130">
                  <c:v>-1.696</c:v>
                </c:pt>
                <c:pt idx="131">
                  <c:v>-1.696</c:v>
                </c:pt>
                <c:pt idx="132">
                  <c:v>-1.696</c:v>
                </c:pt>
                <c:pt idx="133">
                  <c:v>-1.696</c:v>
                </c:pt>
                <c:pt idx="134">
                  <c:v>-1.696</c:v>
                </c:pt>
                <c:pt idx="135">
                  <c:v>-1.696</c:v>
                </c:pt>
                <c:pt idx="136">
                  <c:v>-1.696</c:v>
                </c:pt>
                <c:pt idx="137">
                  <c:v>-1.696</c:v>
                </c:pt>
                <c:pt idx="138">
                  <c:v>-1.696</c:v>
                </c:pt>
                <c:pt idx="139">
                  <c:v>-1.696</c:v>
                </c:pt>
                <c:pt idx="140">
                  <c:v>-1.696</c:v>
                </c:pt>
                <c:pt idx="141">
                  <c:v>-1.696</c:v>
                </c:pt>
                <c:pt idx="142">
                  <c:v>-1.696</c:v>
                </c:pt>
                <c:pt idx="143">
                  <c:v>-1.696</c:v>
                </c:pt>
                <c:pt idx="144">
                  <c:v>-1.696</c:v>
                </c:pt>
                <c:pt idx="145">
                  <c:v>-1.696</c:v>
                </c:pt>
                <c:pt idx="146">
                  <c:v>-1.696</c:v>
                </c:pt>
                <c:pt idx="147">
                  <c:v>-1.696</c:v>
                </c:pt>
                <c:pt idx="148">
                  <c:v>-1.696</c:v>
                </c:pt>
                <c:pt idx="149">
                  <c:v>-1.696</c:v>
                </c:pt>
                <c:pt idx="150">
                  <c:v>-1.696</c:v>
                </c:pt>
                <c:pt idx="151">
                  <c:v>-1.696</c:v>
                </c:pt>
                <c:pt idx="152">
                  <c:v>-1.696</c:v>
                </c:pt>
                <c:pt idx="153">
                  <c:v>-1.696</c:v>
                </c:pt>
                <c:pt idx="154">
                  <c:v>-1.696</c:v>
                </c:pt>
                <c:pt idx="155">
                  <c:v>-1.696</c:v>
                </c:pt>
                <c:pt idx="156">
                  <c:v>-1.696</c:v>
                </c:pt>
                <c:pt idx="157">
                  <c:v>-1.696</c:v>
                </c:pt>
                <c:pt idx="158">
                  <c:v>-1.696</c:v>
                </c:pt>
                <c:pt idx="159">
                  <c:v>-1.696</c:v>
                </c:pt>
                <c:pt idx="160">
                  <c:v>-1.696</c:v>
                </c:pt>
                <c:pt idx="161">
                  <c:v>-1.696</c:v>
                </c:pt>
                <c:pt idx="162">
                  <c:v>-1.696</c:v>
                </c:pt>
                <c:pt idx="163">
                  <c:v>-1.696</c:v>
                </c:pt>
                <c:pt idx="164">
                  <c:v>-1.696</c:v>
                </c:pt>
                <c:pt idx="165">
                  <c:v>-1.696</c:v>
                </c:pt>
                <c:pt idx="166">
                  <c:v>-1.696</c:v>
                </c:pt>
                <c:pt idx="167">
                  <c:v>-1.696</c:v>
                </c:pt>
                <c:pt idx="168">
                  <c:v>-1.696</c:v>
                </c:pt>
                <c:pt idx="169">
                  <c:v>-1.696</c:v>
                </c:pt>
                <c:pt idx="170">
                  <c:v>-1.696</c:v>
                </c:pt>
                <c:pt idx="171">
                  <c:v>-1.696</c:v>
                </c:pt>
                <c:pt idx="172">
                  <c:v>-1.696</c:v>
                </c:pt>
                <c:pt idx="173">
                  <c:v>-1.696</c:v>
                </c:pt>
                <c:pt idx="174">
                  <c:v>-1.696</c:v>
                </c:pt>
                <c:pt idx="175">
                  <c:v>-1.696</c:v>
                </c:pt>
                <c:pt idx="176">
                  <c:v>-1.696</c:v>
                </c:pt>
                <c:pt idx="177">
                  <c:v>-1.696</c:v>
                </c:pt>
                <c:pt idx="178">
                  <c:v>-1.696</c:v>
                </c:pt>
                <c:pt idx="179">
                  <c:v>-1.696</c:v>
                </c:pt>
                <c:pt idx="180">
                  <c:v>-1.696</c:v>
                </c:pt>
                <c:pt idx="181">
                  <c:v>-1.696</c:v>
                </c:pt>
                <c:pt idx="182">
                  <c:v>-1.696</c:v>
                </c:pt>
                <c:pt idx="183">
                  <c:v>-1.696</c:v>
                </c:pt>
                <c:pt idx="184">
                  <c:v>-1.696</c:v>
                </c:pt>
                <c:pt idx="185">
                  <c:v>-1.696</c:v>
                </c:pt>
                <c:pt idx="186">
                  <c:v>-1.696</c:v>
                </c:pt>
                <c:pt idx="187">
                  <c:v>-1.696</c:v>
                </c:pt>
                <c:pt idx="188">
                  <c:v>-1.696</c:v>
                </c:pt>
                <c:pt idx="189">
                  <c:v>-1.696</c:v>
                </c:pt>
                <c:pt idx="190">
                  <c:v>-1.696</c:v>
                </c:pt>
                <c:pt idx="191">
                  <c:v>-1.696</c:v>
                </c:pt>
                <c:pt idx="192">
                  <c:v>-1.696</c:v>
                </c:pt>
                <c:pt idx="193">
                  <c:v>-1.696</c:v>
                </c:pt>
                <c:pt idx="194">
                  <c:v>-1.696</c:v>
                </c:pt>
                <c:pt idx="195">
                  <c:v>-1.696</c:v>
                </c:pt>
                <c:pt idx="196">
                  <c:v>-1.696</c:v>
                </c:pt>
                <c:pt idx="197">
                  <c:v>-1.696</c:v>
                </c:pt>
                <c:pt idx="198">
                  <c:v>-1.696</c:v>
                </c:pt>
                <c:pt idx="199">
                  <c:v>-1.696</c:v>
                </c:pt>
                <c:pt idx="200">
                  <c:v>-1.696</c:v>
                </c:pt>
                <c:pt idx="201">
                  <c:v>-1.696</c:v>
                </c:pt>
                <c:pt idx="202">
                  <c:v>-1.696</c:v>
                </c:pt>
                <c:pt idx="203">
                  <c:v>-1.696</c:v>
                </c:pt>
                <c:pt idx="204">
                  <c:v>-1.696</c:v>
                </c:pt>
                <c:pt idx="205">
                  <c:v>-1.696</c:v>
                </c:pt>
                <c:pt idx="206">
                  <c:v>-1.696</c:v>
                </c:pt>
                <c:pt idx="207">
                  <c:v>-1.696</c:v>
                </c:pt>
                <c:pt idx="208">
                  <c:v>-1.696</c:v>
                </c:pt>
                <c:pt idx="209">
                  <c:v>-1.696</c:v>
                </c:pt>
                <c:pt idx="210">
                  <c:v>-1.696</c:v>
                </c:pt>
                <c:pt idx="211">
                  <c:v>-1.696</c:v>
                </c:pt>
                <c:pt idx="212">
                  <c:v>-1.696</c:v>
                </c:pt>
                <c:pt idx="213">
                  <c:v>-1.696</c:v>
                </c:pt>
                <c:pt idx="214">
                  <c:v>-1.696</c:v>
                </c:pt>
                <c:pt idx="215">
                  <c:v>-1.696</c:v>
                </c:pt>
                <c:pt idx="216">
                  <c:v>-1.696</c:v>
                </c:pt>
                <c:pt idx="217">
                  <c:v>-1.696</c:v>
                </c:pt>
                <c:pt idx="218">
                  <c:v>-1.696</c:v>
                </c:pt>
                <c:pt idx="219">
                  <c:v>-1.696</c:v>
                </c:pt>
                <c:pt idx="220">
                  <c:v>-1.696</c:v>
                </c:pt>
                <c:pt idx="221">
                  <c:v>-1.696</c:v>
                </c:pt>
                <c:pt idx="222">
                  <c:v>-1.696</c:v>
                </c:pt>
                <c:pt idx="223">
                  <c:v>-1.696</c:v>
                </c:pt>
                <c:pt idx="224">
                  <c:v>-1.696</c:v>
                </c:pt>
                <c:pt idx="225">
                  <c:v>-1.696</c:v>
                </c:pt>
                <c:pt idx="226">
                  <c:v>-1.696</c:v>
                </c:pt>
                <c:pt idx="227">
                  <c:v>-1.696</c:v>
                </c:pt>
                <c:pt idx="228">
                  <c:v>-1.696</c:v>
                </c:pt>
                <c:pt idx="229">
                  <c:v>-1.69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14B2-4341-B9D1-66DA8D05556F}"/>
            </c:ext>
          </c:extLst>
        </c:ser>
        <c:ser>
          <c:idx val="2"/>
          <c:order val="2"/>
          <c:tx>
            <c:strRef>
              <c:f>画图!$D$1</c:f>
              <c:strCache>
                <c:ptCount val="1"/>
              </c:strCache>
            </c:strRef>
          </c:tx>
          <c:spPr>
            <a:ln w="19050">
              <a:solidFill>
                <a:srgbClr val="0D97FF"/>
              </a:solidFill>
              <a:prstDash val="sysDash"/>
            </a:ln>
          </c:spPr>
          <c:marker>
            <c:symbol val="none"/>
          </c:marker>
          <c:cat>
            <c:strRef>
              <c:f>画图!$A$2:$A$231</c:f>
              <c:strCache>
                <c:ptCount val="23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  <c:pt idx="220">
                  <c:v>2025-12-01</c:v>
                </c:pt>
                <c:pt idx="221">
                  <c:v>2025-12-02</c:v>
                </c:pt>
                <c:pt idx="222">
                  <c:v>2025-12-03</c:v>
                </c:pt>
                <c:pt idx="223">
                  <c:v>2025-12-04</c:v>
                </c:pt>
                <c:pt idx="224">
                  <c:v>2025-12-05</c:v>
                </c:pt>
                <c:pt idx="225">
                  <c:v>2025-12-08</c:v>
                </c:pt>
                <c:pt idx="226">
                  <c:v>2025-12-09</c:v>
                </c:pt>
                <c:pt idx="227">
                  <c:v>2025-12-10</c:v>
                </c:pt>
                <c:pt idx="228">
                  <c:v>2025-12-11</c:v>
                </c:pt>
                <c:pt idx="229">
                  <c:v>2025-12-12</c:v>
                </c:pt>
              </c:strCache>
            </c:strRef>
          </c:cat>
          <c:val>
            <c:numRef>
              <c:f>画图!$D$2:$D$231</c:f>
              <c:numCache>
                <c:formatCode>0.00_);[Red]\(0.00\)</c:formatCode>
                <c:ptCount val="230"/>
                <c:pt idx="0">
                  <c:v>-0.84799999999999998</c:v>
                </c:pt>
                <c:pt idx="1">
                  <c:v>-0.84799999999999998</c:v>
                </c:pt>
                <c:pt idx="2">
                  <c:v>-0.84799999999999998</c:v>
                </c:pt>
                <c:pt idx="3">
                  <c:v>-0.84799999999999998</c:v>
                </c:pt>
                <c:pt idx="4">
                  <c:v>-0.84799999999999998</c:v>
                </c:pt>
                <c:pt idx="5">
                  <c:v>-0.84799999999999998</c:v>
                </c:pt>
                <c:pt idx="6">
                  <c:v>-0.84799999999999998</c:v>
                </c:pt>
                <c:pt idx="7">
                  <c:v>-0.84799999999999998</c:v>
                </c:pt>
                <c:pt idx="8">
                  <c:v>-0.84799999999999998</c:v>
                </c:pt>
                <c:pt idx="9">
                  <c:v>-0.84799999999999998</c:v>
                </c:pt>
                <c:pt idx="10">
                  <c:v>-0.84799999999999998</c:v>
                </c:pt>
                <c:pt idx="11">
                  <c:v>-0.84799999999999998</c:v>
                </c:pt>
                <c:pt idx="12">
                  <c:v>-0.84799999999999998</c:v>
                </c:pt>
                <c:pt idx="13">
                  <c:v>-0.84799999999999998</c:v>
                </c:pt>
                <c:pt idx="14">
                  <c:v>-0.84799999999999998</c:v>
                </c:pt>
                <c:pt idx="15">
                  <c:v>-0.84799999999999998</c:v>
                </c:pt>
                <c:pt idx="16">
                  <c:v>-0.84799999999999998</c:v>
                </c:pt>
                <c:pt idx="17">
                  <c:v>-0.84799999999999998</c:v>
                </c:pt>
                <c:pt idx="18">
                  <c:v>-0.84799999999999998</c:v>
                </c:pt>
                <c:pt idx="19">
                  <c:v>-0.84799999999999998</c:v>
                </c:pt>
                <c:pt idx="20">
                  <c:v>-0.84799999999999998</c:v>
                </c:pt>
                <c:pt idx="21">
                  <c:v>-0.84799999999999998</c:v>
                </c:pt>
                <c:pt idx="22">
                  <c:v>-0.84799999999999998</c:v>
                </c:pt>
                <c:pt idx="23">
                  <c:v>-0.84799999999999998</c:v>
                </c:pt>
                <c:pt idx="24">
                  <c:v>-0.84799999999999998</c:v>
                </c:pt>
                <c:pt idx="25">
                  <c:v>-0.84799999999999998</c:v>
                </c:pt>
                <c:pt idx="26">
                  <c:v>-0.84799999999999998</c:v>
                </c:pt>
                <c:pt idx="27">
                  <c:v>-0.84799999999999998</c:v>
                </c:pt>
                <c:pt idx="28">
                  <c:v>-0.84799999999999998</c:v>
                </c:pt>
                <c:pt idx="29">
                  <c:v>-0.84799999999999998</c:v>
                </c:pt>
                <c:pt idx="30">
                  <c:v>-0.84799999999999998</c:v>
                </c:pt>
                <c:pt idx="31">
                  <c:v>-0.84799999999999998</c:v>
                </c:pt>
                <c:pt idx="32">
                  <c:v>-0.84799999999999998</c:v>
                </c:pt>
                <c:pt idx="33">
                  <c:v>-0.84799999999999998</c:v>
                </c:pt>
                <c:pt idx="34">
                  <c:v>-0.84799999999999998</c:v>
                </c:pt>
                <c:pt idx="35">
                  <c:v>-0.84799999999999998</c:v>
                </c:pt>
                <c:pt idx="36">
                  <c:v>-0.84799999999999998</c:v>
                </c:pt>
                <c:pt idx="37">
                  <c:v>-0.84799999999999998</c:v>
                </c:pt>
                <c:pt idx="38">
                  <c:v>-0.84799999999999998</c:v>
                </c:pt>
                <c:pt idx="39">
                  <c:v>-0.84799999999999998</c:v>
                </c:pt>
                <c:pt idx="40">
                  <c:v>-0.84799999999999998</c:v>
                </c:pt>
                <c:pt idx="41">
                  <c:v>-0.84799999999999998</c:v>
                </c:pt>
                <c:pt idx="42">
                  <c:v>-0.84799999999999998</c:v>
                </c:pt>
                <c:pt idx="43">
                  <c:v>-0.84799999999999998</c:v>
                </c:pt>
                <c:pt idx="44">
                  <c:v>-0.84799999999999998</c:v>
                </c:pt>
                <c:pt idx="45">
                  <c:v>-0.84799999999999998</c:v>
                </c:pt>
                <c:pt idx="46">
                  <c:v>-0.84799999999999998</c:v>
                </c:pt>
                <c:pt idx="47">
                  <c:v>-0.84799999999999998</c:v>
                </c:pt>
                <c:pt idx="48">
                  <c:v>-0.84799999999999998</c:v>
                </c:pt>
                <c:pt idx="49">
                  <c:v>-0.84799999999999998</c:v>
                </c:pt>
                <c:pt idx="50">
                  <c:v>-0.84799999999999998</c:v>
                </c:pt>
                <c:pt idx="51">
                  <c:v>-0.84799999999999998</c:v>
                </c:pt>
                <c:pt idx="52">
                  <c:v>-0.84799999999999998</c:v>
                </c:pt>
                <c:pt idx="53">
                  <c:v>-0.84799999999999998</c:v>
                </c:pt>
                <c:pt idx="54">
                  <c:v>-0.84799999999999998</c:v>
                </c:pt>
                <c:pt idx="55">
                  <c:v>-0.84799999999999998</c:v>
                </c:pt>
                <c:pt idx="56">
                  <c:v>-0.84799999999999998</c:v>
                </c:pt>
                <c:pt idx="57">
                  <c:v>-0.84799999999999998</c:v>
                </c:pt>
                <c:pt idx="58">
                  <c:v>-0.84799999999999998</c:v>
                </c:pt>
                <c:pt idx="59">
                  <c:v>-0.84799999999999998</c:v>
                </c:pt>
                <c:pt idx="60">
                  <c:v>-0.84799999999999998</c:v>
                </c:pt>
                <c:pt idx="61">
                  <c:v>-0.84799999999999998</c:v>
                </c:pt>
                <c:pt idx="62">
                  <c:v>-0.84799999999999998</c:v>
                </c:pt>
                <c:pt idx="63">
                  <c:v>-0.84799999999999998</c:v>
                </c:pt>
                <c:pt idx="64">
                  <c:v>-0.84799999999999998</c:v>
                </c:pt>
                <c:pt idx="65">
                  <c:v>-0.84799999999999998</c:v>
                </c:pt>
                <c:pt idx="66">
                  <c:v>-0.84799999999999998</c:v>
                </c:pt>
                <c:pt idx="67">
                  <c:v>-0.84799999999999998</c:v>
                </c:pt>
                <c:pt idx="68">
                  <c:v>-0.84799999999999998</c:v>
                </c:pt>
                <c:pt idx="69">
                  <c:v>-0.84799999999999998</c:v>
                </c:pt>
                <c:pt idx="70">
                  <c:v>-0.84799999999999998</c:v>
                </c:pt>
                <c:pt idx="71">
                  <c:v>-0.84799999999999998</c:v>
                </c:pt>
                <c:pt idx="72">
                  <c:v>-0.84799999999999998</c:v>
                </c:pt>
                <c:pt idx="73">
                  <c:v>-0.84799999999999998</c:v>
                </c:pt>
                <c:pt idx="74">
                  <c:v>-0.84799999999999998</c:v>
                </c:pt>
                <c:pt idx="75">
                  <c:v>-0.84799999999999998</c:v>
                </c:pt>
                <c:pt idx="76">
                  <c:v>-0.84799999999999998</c:v>
                </c:pt>
                <c:pt idx="77">
                  <c:v>-0.84799999999999998</c:v>
                </c:pt>
                <c:pt idx="78">
                  <c:v>-0.84799999999999998</c:v>
                </c:pt>
                <c:pt idx="79">
                  <c:v>-0.84799999999999998</c:v>
                </c:pt>
                <c:pt idx="80">
                  <c:v>-0.84799999999999998</c:v>
                </c:pt>
                <c:pt idx="81">
                  <c:v>-0.84799999999999998</c:v>
                </c:pt>
                <c:pt idx="82">
                  <c:v>-0.84799999999999998</c:v>
                </c:pt>
                <c:pt idx="83">
                  <c:v>-0.84799999999999998</c:v>
                </c:pt>
                <c:pt idx="84">
                  <c:v>-0.84799999999999998</c:v>
                </c:pt>
                <c:pt idx="85">
                  <c:v>-0.84799999999999998</c:v>
                </c:pt>
                <c:pt idx="86">
                  <c:v>-0.84799999999999998</c:v>
                </c:pt>
                <c:pt idx="87">
                  <c:v>-0.84799999999999998</c:v>
                </c:pt>
                <c:pt idx="88">
                  <c:v>-0.84799999999999998</c:v>
                </c:pt>
                <c:pt idx="89">
                  <c:v>-0.84799999999999998</c:v>
                </c:pt>
                <c:pt idx="90">
                  <c:v>-0.84799999999999998</c:v>
                </c:pt>
                <c:pt idx="91">
                  <c:v>-0.84799999999999998</c:v>
                </c:pt>
                <c:pt idx="92">
                  <c:v>-0.84799999999999998</c:v>
                </c:pt>
                <c:pt idx="93">
                  <c:v>-0.84799999999999998</c:v>
                </c:pt>
                <c:pt idx="94">
                  <c:v>-0.84799999999999998</c:v>
                </c:pt>
                <c:pt idx="95">
                  <c:v>-0.84799999999999998</c:v>
                </c:pt>
                <c:pt idx="96">
                  <c:v>-0.84799999999999998</c:v>
                </c:pt>
                <c:pt idx="97">
                  <c:v>-0.84799999999999998</c:v>
                </c:pt>
                <c:pt idx="98">
                  <c:v>-0.84799999999999998</c:v>
                </c:pt>
                <c:pt idx="99">
                  <c:v>-0.84799999999999998</c:v>
                </c:pt>
                <c:pt idx="100">
                  <c:v>-0.84799999999999998</c:v>
                </c:pt>
                <c:pt idx="101">
                  <c:v>-0.84799999999999998</c:v>
                </c:pt>
                <c:pt idx="102">
                  <c:v>-0.84799999999999998</c:v>
                </c:pt>
                <c:pt idx="103">
                  <c:v>-0.84799999999999998</c:v>
                </c:pt>
                <c:pt idx="104">
                  <c:v>-0.84799999999999998</c:v>
                </c:pt>
                <c:pt idx="105">
                  <c:v>-0.84799999999999998</c:v>
                </c:pt>
                <c:pt idx="106">
                  <c:v>-0.84799999999999998</c:v>
                </c:pt>
                <c:pt idx="107">
                  <c:v>-0.84799999999999998</c:v>
                </c:pt>
                <c:pt idx="108">
                  <c:v>-0.84799999999999998</c:v>
                </c:pt>
                <c:pt idx="109">
                  <c:v>-0.84799999999999998</c:v>
                </c:pt>
                <c:pt idx="110">
                  <c:v>-0.84799999999999998</c:v>
                </c:pt>
                <c:pt idx="111">
                  <c:v>-0.84799999999999998</c:v>
                </c:pt>
                <c:pt idx="112">
                  <c:v>-0.84799999999999998</c:v>
                </c:pt>
                <c:pt idx="113">
                  <c:v>-0.84799999999999998</c:v>
                </c:pt>
                <c:pt idx="114">
                  <c:v>-0.84799999999999998</c:v>
                </c:pt>
                <c:pt idx="115">
                  <c:v>-0.84799999999999998</c:v>
                </c:pt>
                <c:pt idx="116">
                  <c:v>-0.84799999999999998</c:v>
                </c:pt>
                <c:pt idx="117">
                  <c:v>-0.84799999999999998</c:v>
                </c:pt>
                <c:pt idx="118">
                  <c:v>-0.84799999999999998</c:v>
                </c:pt>
                <c:pt idx="119">
                  <c:v>-0.84799999999999998</c:v>
                </c:pt>
                <c:pt idx="120">
                  <c:v>-0.84799999999999998</c:v>
                </c:pt>
                <c:pt idx="121">
                  <c:v>-0.84799999999999998</c:v>
                </c:pt>
                <c:pt idx="122">
                  <c:v>-0.84799999999999998</c:v>
                </c:pt>
                <c:pt idx="123">
                  <c:v>-0.84799999999999998</c:v>
                </c:pt>
                <c:pt idx="124">
                  <c:v>-0.84799999999999998</c:v>
                </c:pt>
                <c:pt idx="125">
                  <c:v>-0.84799999999999998</c:v>
                </c:pt>
                <c:pt idx="126">
                  <c:v>-0.84799999999999998</c:v>
                </c:pt>
                <c:pt idx="127">
                  <c:v>-0.84799999999999998</c:v>
                </c:pt>
                <c:pt idx="128">
                  <c:v>-0.84799999999999998</c:v>
                </c:pt>
                <c:pt idx="129">
                  <c:v>-0.84799999999999998</c:v>
                </c:pt>
                <c:pt idx="130">
                  <c:v>-0.84799999999999998</c:v>
                </c:pt>
                <c:pt idx="131">
                  <c:v>-0.84799999999999998</c:v>
                </c:pt>
                <c:pt idx="132">
                  <c:v>-0.84799999999999998</c:v>
                </c:pt>
                <c:pt idx="133">
                  <c:v>-0.84799999999999998</c:v>
                </c:pt>
                <c:pt idx="134">
                  <c:v>-0.84799999999999998</c:v>
                </c:pt>
                <c:pt idx="135">
                  <c:v>-0.84799999999999998</c:v>
                </c:pt>
                <c:pt idx="136">
                  <c:v>-0.84799999999999998</c:v>
                </c:pt>
                <c:pt idx="137">
                  <c:v>-0.84799999999999998</c:v>
                </c:pt>
                <c:pt idx="138">
                  <c:v>-0.84799999999999998</c:v>
                </c:pt>
                <c:pt idx="139">
                  <c:v>-0.84799999999999998</c:v>
                </c:pt>
                <c:pt idx="140">
                  <c:v>-0.84799999999999998</c:v>
                </c:pt>
                <c:pt idx="141">
                  <c:v>-0.84799999999999998</c:v>
                </c:pt>
                <c:pt idx="142">
                  <c:v>-0.84799999999999998</c:v>
                </c:pt>
                <c:pt idx="143">
                  <c:v>-0.84799999999999998</c:v>
                </c:pt>
                <c:pt idx="144">
                  <c:v>-0.84799999999999998</c:v>
                </c:pt>
                <c:pt idx="145">
                  <c:v>-0.84799999999999998</c:v>
                </c:pt>
                <c:pt idx="146">
                  <c:v>-0.84799999999999998</c:v>
                </c:pt>
                <c:pt idx="147">
                  <c:v>-0.84799999999999998</c:v>
                </c:pt>
                <c:pt idx="148">
                  <c:v>-0.84799999999999998</c:v>
                </c:pt>
                <c:pt idx="149">
                  <c:v>-0.84799999999999998</c:v>
                </c:pt>
                <c:pt idx="150">
                  <c:v>-0.84799999999999998</c:v>
                </c:pt>
                <c:pt idx="151">
                  <c:v>-0.84799999999999998</c:v>
                </c:pt>
                <c:pt idx="152">
                  <c:v>-0.84799999999999998</c:v>
                </c:pt>
                <c:pt idx="153">
                  <c:v>-0.84799999999999998</c:v>
                </c:pt>
                <c:pt idx="154">
                  <c:v>-0.84799999999999998</c:v>
                </c:pt>
                <c:pt idx="155">
                  <c:v>-0.84799999999999998</c:v>
                </c:pt>
                <c:pt idx="156">
                  <c:v>-0.84799999999999998</c:v>
                </c:pt>
                <c:pt idx="157">
                  <c:v>-0.84799999999999998</c:v>
                </c:pt>
                <c:pt idx="158">
                  <c:v>-0.84799999999999998</c:v>
                </c:pt>
                <c:pt idx="159">
                  <c:v>-0.84799999999999998</c:v>
                </c:pt>
                <c:pt idx="160">
                  <c:v>-0.84799999999999998</c:v>
                </c:pt>
                <c:pt idx="161">
                  <c:v>-0.84799999999999998</c:v>
                </c:pt>
                <c:pt idx="162">
                  <c:v>-0.84799999999999998</c:v>
                </c:pt>
                <c:pt idx="163">
                  <c:v>-0.84799999999999998</c:v>
                </c:pt>
                <c:pt idx="164">
                  <c:v>-0.84799999999999998</c:v>
                </c:pt>
                <c:pt idx="165">
                  <c:v>-0.84799999999999998</c:v>
                </c:pt>
                <c:pt idx="166">
                  <c:v>-0.84799999999999998</c:v>
                </c:pt>
                <c:pt idx="167">
                  <c:v>-0.84799999999999998</c:v>
                </c:pt>
                <c:pt idx="168">
                  <c:v>-0.84799999999999998</c:v>
                </c:pt>
                <c:pt idx="169">
                  <c:v>-0.84799999999999998</c:v>
                </c:pt>
                <c:pt idx="170">
                  <c:v>-0.84799999999999998</c:v>
                </c:pt>
                <c:pt idx="171">
                  <c:v>-0.84799999999999998</c:v>
                </c:pt>
                <c:pt idx="172">
                  <c:v>-0.84799999999999998</c:v>
                </c:pt>
                <c:pt idx="173">
                  <c:v>-0.84799999999999998</c:v>
                </c:pt>
                <c:pt idx="174">
                  <c:v>-0.84799999999999998</c:v>
                </c:pt>
                <c:pt idx="175">
                  <c:v>-0.84799999999999998</c:v>
                </c:pt>
                <c:pt idx="176">
                  <c:v>-0.84799999999999998</c:v>
                </c:pt>
                <c:pt idx="177">
                  <c:v>-0.84799999999999998</c:v>
                </c:pt>
                <c:pt idx="178">
                  <c:v>-0.84799999999999998</c:v>
                </c:pt>
                <c:pt idx="179">
                  <c:v>-0.84799999999999998</c:v>
                </c:pt>
                <c:pt idx="180">
                  <c:v>-0.84799999999999998</c:v>
                </c:pt>
                <c:pt idx="181">
                  <c:v>-0.84799999999999998</c:v>
                </c:pt>
                <c:pt idx="182">
                  <c:v>-0.84799999999999998</c:v>
                </c:pt>
                <c:pt idx="183">
                  <c:v>-0.84799999999999998</c:v>
                </c:pt>
                <c:pt idx="184">
                  <c:v>-0.84799999999999998</c:v>
                </c:pt>
                <c:pt idx="185">
                  <c:v>-0.84799999999999998</c:v>
                </c:pt>
                <c:pt idx="186">
                  <c:v>-0.84799999999999998</c:v>
                </c:pt>
                <c:pt idx="187">
                  <c:v>-0.84799999999999998</c:v>
                </c:pt>
                <c:pt idx="188">
                  <c:v>-0.84799999999999998</c:v>
                </c:pt>
                <c:pt idx="189">
                  <c:v>-0.84799999999999998</c:v>
                </c:pt>
                <c:pt idx="190">
                  <c:v>-0.84799999999999998</c:v>
                </c:pt>
                <c:pt idx="191">
                  <c:v>-0.84799999999999998</c:v>
                </c:pt>
                <c:pt idx="192">
                  <c:v>-0.84799999999999998</c:v>
                </c:pt>
                <c:pt idx="193">
                  <c:v>-0.84799999999999998</c:v>
                </c:pt>
                <c:pt idx="194">
                  <c:v>-0.84799999999999998</c:v>
                </c:pt>
                <c:pt idx="195">
                  <c:v>-0.84799999999999998</c:v>
                </c:pt>
                <c:pt idx="196">
                  <c:v>-0.84799999999999998</c:v>
                </c:pt>
                <c:pt idx="197">
                  <c:v>-0.84799999999999998</c:v>
                </c:pt>
                <c:pt idx="198">
                  <c:v>-0.84799999999999998</c:v>
                </c:pt>
                <c:pt idx="199">
                  <c:v>-0.84799999999999998</c:v>
                </c:pt>
                <c:pt idx="200">
                  <c:v>-0.84799999999999998</c:v>
                </c:pt>
                <c:pt idx="201">
                  <c:v>-0.84799999999999998</c:v>
                </c:pt>
                <c:pt idx="202">
                  <c:v>-0.84799999999999998</c:v>
                </c:pt>
                <c:pt idx="203">
                  <c:v>-0.84799999999999998</c:v>
                </c:pt>
                <c:pt idx="204">
                  <c:v>-0.84799999999999998</c:v>
                </c:pt>
                <c:pt idx="205">
                  <c:v>-0.84799999999999998</c:v>
                </c:pt>
                <c:pt idx="206">
                  <c:v>-0.84799999999999998</c:v>
                </c:pt>
                <c:pt idx="207">
                  <c:v>-0.84799999999999998</c:v>
                </c:pt>
                <c:pt idx="208">
                  <c:v>-0.84799999999999998</c:v>
                </c:pt>
                <c:pt idx="209">
                  <c:v>-0.84799999999999998</c:v>
                </c:pt>
                <c:pt idx="210">
                  <c:v>-0.84799999999999998</c:v>
                </c:pt>
                <c:pt idx="211">
                  <c:v>-0.84799999999999998</c:v>
                </c:pt>
                <c:pt idx="212">
                  <c:v>-0.84799999999999998</c:v>
                </c:pt>
                <c:pt idx="213">
                  <c:v>-0.84799999999999998</c:v>
                </c:pt>
                <c:pt idx="214">
                  <c:v>-0.84799999999999998</c:v>
                </c:pt>
                <c:pt idx="215">
                  <c:v>-0.84799999999999998</c:v>
                </c:pt>
                <c:pt idx="216">
                  <c:v>-0.84799999999999998</c:v>
                </c:pt>
                <c:pt idx="217">
                  <c:v>-0.84799999999999998</c:v>
                </c:pt>
                <c:pt idx="218">
                  <c:v>-0.84799999999999998</c:v>
                </c:pt>
                <c:pt idx="219">
                  <c:v>-0.84799999999999998</c:v>
                </c:pt>
                <c:pt idx="220">
                  <c:v>-0.84799999999999998</c:v>
                </c:pt>
                <c:pt idx="221">
                  <c:v>-0.84799999999999998</c:v>
                </c:pt>
                <c:pt idx="222">
                  <c:v>-0.84799999999999998</c:v>
                </c:pt>
                <c:pt idx="223">
                  <c:v>-0.84799999999999998</c:v>
                </c:pt>
                <c:pt idx="224">
                  <c:v>-0.84799999999999998</c:v>
                </c:pt>
                <c:pt idx="225">
                  <c:v>-0.84799999999999998</c:v>
                </c:pt>
                <c:pt idx="226">
                  <c:v>-0.84799999999999998</c:v>
                </c:pt>
                <c:pt idx="227">
                  <c:v>-0.84799999999999998</c:v>
                </c:pt>
                <c:pt idx="228">
                  <c:v>-0.84799999999999998</c:v>
                </c:pt>
                <c:pt idx="229">
                  <c:v>-0.8479999999999999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14B2-4341-B9D1-66DA8D05556F}"/>
            </c:ext>
          </c:extLst>
        </c:ser>
        <c:ser>
          <c:idx val="3"/>
          <c:order val="3"/>
          <c:tx>
            <c:strRef>
              <c:f>画图!$E$1</c:f>
              <c:strCache>
                <c:ptCount val="1"/>
              </c:strCache>
            </c:strRef>
          </c:tx>
          <c:spPr>
            <a:ln w="19050">
              <a:solidFill>
                <a:srgbClr val="FFB3B3"/>
              </a:solidFill>
            </a:ln>
          </c:spPr>
          <c:marker>
            <c:symbol val="none"/>
          </c:marker>
          <c:cat>
            <c:strRef>
              <c:f>画图!$A$2:$A$231</c:f>
              <c:strCache>
                <c:ptCount val="23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  <c:pt idx="220">
                  <c:v>2025-12-01</c:v>
                </c:pt>
                <c:pt idx="221">
                  <c:v>2025-12-02</c:v>
                </c:pt>
                <c:pt idx="222">
                  <c:v>2025-12-03</c:v>
                </c:pt>
                <c:pt idx="223">
                  <c:v>2025-12-04</c:v>
                </c:pt>
                <c:pt idx="224">
                  <c:v>2025-12-05</c:v>
                </c:pt>
                <c:pt idx="225">
                  <c:v>2025-12-08</c:v>
                </c:pt>
                <c:pt idx="226">
                  <c:v>2025-12-09</c:v>
                </c:pt>
                <c:pt idx="227">
                  <c:v>2025-12-10</c:v>
                </c:pt>
                <c:pt idx="228">
                  <c:v>2025-12-11</c:v>
                </c:pt>
                <c:pt idx="229">
                  <c:v>2025-12-12</c:v>
                </c:pt>
              </c:strCache>
            </c:strRef>
          </c:cat>
          <c:val>
            <c:numRef>
              <c:f>画图!$E$2:$E$231</c:f>
              <c:numCache>
                <c:formatCode>0.00_);[Red]\(0.00\)</c:formatCode>
                <c:ptCount val="23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14B2-4341-B9D1-66DA8D05556F}"/>
            </c:ext>
          </c:extLst>
        </c:ser>
        <c:ser>
          <c:idx val="4"/>
          <c:order val="4"/>
          <c:tx>
            <c:strRef>
              <c:f>画图!$F$1</c:f>
              <c:strCache>
                <c:ptCount val="1"/>
              </c:strCache>
            </c:strRef>
          </c:tx>
          <c:spPr>
            <a:ln w="19050">
              <a:solidFill>
                <a:srgbClr val="75C4FF"/>
              </a:solidFill>
              <a:prstDash val="sysDash"/>
            </a:ln>
          </c:spPr>
          <c:marker>
            <c:symbol val="none"/>
          </c:marker>
          <c:cat>
            <c:strRef>
              <c:f>画图!$A$2:$A$231</c:f>
              <c:strCache>
                <c:ptCount val="23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  <c:pt idx="220">
                  <c:v>2025-12-01</c:v>
                </c:pt>
                <c:pt idx="221">
                  <c:v>2025-12-02</c:v>
                </c:pt>
                <c:pt idx="222">
                  <c:v>2025-12-03</c:v>
                </c:pt>
                <c:pt idx="223">
                  <c:v>2025-12-04</c:v>
                </c:pt>
                <c:pt idx="224">
                  <c:v>2025-12-05</c:v>
                </c:pt>
                <c:pt idx="225">
                  <c:v>2025-12-08</c:v>
                </c:pt>
                <c:pt idx="226">
                  <c:v>2025-12-09</c:v>
                </c:pt>
                <c:pt idx="227">
                  <c:v>2025-12-10</c:v>
                </c:pt>
                <c:pt idx="228">
                  <c:v>2025-12-11</c:v>
                </c:pt>
                <c:pt idx="229">
                  <c:v>2025-12-12</c:v>
                </c:pt>
              </c:strCache>
            </c:strRef>
          </c:cat>
          <c:val>
            <c:numRef>
              <c:f>画图!$F$2:$F$231</c:f>
              <c:numCache>
                <c:formatCode>0.00_);[Red]\(0.00\)</c:formatCode>
                <c:ptCount val="230"/>
                <c:pt idx="0">
                  <c:v>0.84799999999999998</c:v>
                </c:pt>
                <c:pt idx="1">
                  <c:v>0.84799999999999998</c:v>
                </c:pt>
                <c:pt idx="2">
                  <c:v>0.84799999999999998</c:v>
                </c:pt>
                <c:pt idx="3">
                  <c:v>0.84799999999999998</c:v>
                </c:pt>
                <c:pt idx="4">
                  <c:v>0.84799999999999998</c:v>
                </c:pt>
                <c:pt idx="5">
                  <c:v>0.84799999999999998</c:v>
                </c:pt>
                <c:pt idx="6">
                  <c:v>0.84799999999999998</c:v>
                </c:pt>
                <c:pt idx="7">
                  <c:v>0.84799999999999998</c:v>
                </c:pt>
                <c:pt idx="8">
                  <c:v>0.84799999999999998</c:v>
                </c:pt>
                <c:pt idx="9">
                  <c:v>0.84799999999999998</c:v>
                </c:pt>
                <c:pt idx="10">
                  <c:v>0.84799999999999998</c:v>
                </c:pt>
                <c:pt idx="11">
                  <c:v>0.84799999999999998</c:v>
                </c:pt>
                <c:pt idx="12">
                  <c:v>0.84799999999999998</c:v>
                </c:pt>
                <c:pt idx="13">
                  <c:v>0.84799999999999998</c:v>
                </c:pt>
                <c:pt idx="14">
                  <c:v>0.84799999999999998</c:v>
                </c:pt>
                <c:pt idx="15">
                  <c:v>0.84799999999999998</c:v>
                </c:pt>
                <c:pt idx="16">
                  <c:v>0.84799999999999998</c:v>
                </c:pt>
                <c:pt idx="17">
                  <c:v>0.84799999999999998</c:v>
                </c:pt>
                <c:pt idx="18">
                  <c:v>0.84799999999999998</c:v>
                </c:pt>
                <c:pt idx="19">
                  <c:v>0.84799999999999998</c:v>
                </c:pt>
                <c:pt idx="20">
                  <c:v>0.84799999999999998</c:v>
                </c:pt>
                <c:pt idx="21">
                  <c:v>0.84799999999999998</c:v>
                </c:pt>
                <c:pt idx="22">
                  <c:v>0.84799999999999998</c:v>
                </c:pt>
                <c:pt idx="23">
                  <c:v>0.84799999999999998</c:v>
                </c:pt>
                <c:pt idx="24">
                  <c:v>0.84799999999999998</c:v>
                </c:pt>
                <c:pt idx="25">
                  <c:v>0.84799999999999998</c:v>
                </c:pt>
                <c:pt idx="26">
                  <c:v>0.84799999999999998</c:v>
                </c:pt>
                <c:pt idx="27">
                  <c:v>0.84799999999999998</c:v>
                </c:pt>
                <c:pt idx="28">
                  <c:v>0.84799999999999998</c:v>
                </c:pt>
                <c:pt idx="29">
                  <c:v>0.84799999999999998</c:v>
                </c:pt>
                <c:pt idx="30">
                  <c:v>0.84799999999999998</c:v>
                </c:pt>
                <c:pt idx="31">
                  <c:v>0.84799999999999998</c:v>
                </c:pt>
                <c:pt idx="32">
                  <c:v>0.84799999999999998</c:v>
                </c:pt>
                <c:pt idx="33">
                  <c:v>0.84799999999999998</c:v>
                </c:pt>
                <c:pt idx="34">
                  <c:v>0.84799999999999998</c:v>
                </c:pt>
                <c:pt idx="35">
                  <c:v>0.84799999999999998</c:v>
                </c:pt>
                <c:pt idx="36">
                  <c:v>0.84799999999999998</c:v>
                </c:pt>
                <c:pt idx="37">
                  <c:v>0.84799999999999998</c:v>
                </c:pt>
                <c:pt idx="38">
                  <c:v>0.84799999999999998</c:v>
                </c:pt>
                <c:pt idx="39">
                  <c:v>0.84799999999999998</c:v>
                </c:pt>
                <c:pt idx="40">
                  <c:v>0.84799999999999998</c:v>
                </c:pt>
                <c:pt idx="41">
                  <c:v>0.84799999999999998</c:v>
                </c:pt>
                <c:pt idx="42">
                  <c:v>0.84799999999999998</c:v>
                </c:pt>
                <c:pt idx="43">
                  <c:v>0.84799999999999998</c:v>
                </c:pt>
                <c:pt idx="44">
                  <c:v>0.84799999999999998</c:v>
                </c:pt>
                <c:pt idx="45">
                  <c:v>0.84799999999999998</c:v>
                </c:pt>
                <c:pt idx="46">
                  <c:v>0.84799999999999998</c:v>
                </c:pt>
                <c:pt idx="47">
                  <c:v>0.84799999999999998</c:v>
                </c:pt>
                <c:pt idx="48">
                  <c:v>0.84799999999999998</c:v>
                </c:pt>
                <c:pt idx="49">
                  <c:v>0.84799999999999998</c:v>
                </c:pt>
                <c:pt idx="50">
                  <c:v>0.84799999999999998</c:v>
                </c:pt>
                <c:pt idx="51">
                  <c:v>0.84799999999999998</c:v>
                </c:pt>
                <c:pt idx="52">
                  <c:v>0.84799999999999998</c:v>
                </c:pt>
                <c:pt idx="53">
                  <c:v>0.84799999999999998</c:v>
                </c:pt>
                <c:pt idx="54">
                  <c:v>0.84799999999999998</c:v>
                </c:pt>
                <c:pt idx="55">
                  <c:v>0.84799999999999998</c:v>
                </c:pt>
                <c:pt idx="56">
                  <c:v>0.84799999999999998</c:v>
                </c:pt>
                <c:pt idx="57">
                  <c:v>0.84799999999999998</c:v>
                </c:pt>
                <c:pt idx="58">
                  <c:v>0.84799999999999998</c:v>
                </c:pt>
                <c:pt idx="59">
                  <c:v>0.84799999999999998</c:v>
                </c:pt>
                <c:pt idx="60">
                  <c:v>0.84799999999999998</c:v>
                </c:pt>
                <c:pt idx="61">
                  <c:v>0.84799999999999998</c:v>
                </c:pt>
                <c:pt idx="62">
                  <c:v>0.84799999999999998</c:v>
                </c:pt>
                <c:pt idx="63">
                  <c:v>0.84799999999999998</c:v>
                </c:pt>
                <c:pt idx="64">
                  <c:v>0.84799999999999998</c:v>
                </c:pt>
                <c:pt idx="65">
                  <c:v>0.84799999999999998</c:v>
                </c:pt>
                <c:pt idx="66">
                  <c:v>0.84799999999999998</c:v>
                </c:pt>
                <c:pt idx="67">
                  <c:v>0.84799999999999998</c:v>
                </c:pt>
                <c:pt idx="68">
                  <c:v>0.84799999999999998</c:v>
                </c:pt>
                <c:pt idx="69">
                  <c:v>0.84799999999999998</c:v>
                </c:pt>
                <c:pt idx="70">
                  <c:v>0.84799999999999998</c:v>
                </c:pt>
                <c:pt idx="71">
                  <c:v>0.84799999999999998</c:v>
                </c:pt>
                <c:pt idx="72">
                  <c:v>0.84799999999999998</c:v>
                </c:pt>
                <c:pt idx="73">
                  <c:v>0.84799999999999998</c:v>
                </c:pt>
                <c:pt idx="74">
                  <c:v>0.84799999999999998</c:v>
                </c:pt>
                <c:pt idx="75">
                  <c:v>0.84799999999999998</c:v>
                </c:pt>
                <c:pt idx="76">
                  <c:v>0.84799999999999998</c:v>
                </c:pt>
                <c:pt idx="77">
                  <c:v>0.84799999999999998</c:v>
                </c:pt>
                <c:pt idx="78">
                  <c:v>0.84799999999999998</c:v>
                </c:pt>
                <c:pt idx="79">
                  <c:v>0.84799999999999998</c:v>
                </c:pt>
                <c:pt idx="80">
                  <c:v>0.84799999999999998</c:v>
                </c:pt>
                <c:pt idx="81">
                  <c:v>0.84799999999999998</c:v>
                </c:pt>
                <c:pt idx="82">
                  <c:v>0.84799999999999998</c:v>
                </c:pt>
                <c:pt idx="83">
                  <c:v>0.84799999999999998</c:v>
                </c:pt>
                <c:pt idx="84">
                  <c:v>0.84799999999999998</c:v>
                </c:pt>
                <c:pt idx="85">
                  <c:v>0.84799999999999998</c:v>
                </c:pt>
                <c:pt idx="86">
                  <c:v>0.84799999999999998</c:v>
                </c:pt>
                <c:pt idx="87">
                  <c:v>0.84799999999999998</c:v>
                </c:pt>
                <c:pt idx="88">
                  <c:v>0.84799999999999998</c:v>
                </c:pt>
                <c:pt idx="89">
                  <c:v>0.84799999999999998</c:v>
                </c:pt>
                <c:pt idx="90">
                  <c:v>0.84799999999999998</c:v>
                </c:pt>
                <c:pt idx="91">
                  <c:v>0.84799999999999998</c:v>
                </c:pt>
                <c:pt idx="92">
                  <c:v>0.84799999999999998</c:v>
                </c:pt>
                <c:pt idx="93">
                  <c:v>0.84799999999999998</c:v>
                </c:pt>
                <c:pt idx="94">
                  <c:v>0.84799999999999998</c:v>
                </c:pt>
                <c:pt idx="95">
                  <c:v>0.84799999999999998</c:v>
                </c:pt>
                <c:pt idx="96">
                  <c:v>0.84799999999999998</c:v>
                </c:pt>
                <c:pt idx="97">
                  <c:v>0.84799999999999998</c:v>
                </c:pt>
                <c:pt idx="98">
                  <c:v>0.84799999999999998</c:v>
                </c:pt>
                <c:pt idx="99">
                  <c:v>0.84799999999999998</c:v>
                </c:pt>
                <c:pt idx="100">
                  <c:v>0.84799999999999998</c:v>
                </c:pt>
                <c:pt idx="101">
                  <c:v>0.84799999999999998</c:v>
                </c:pt>
                <c:pt idx="102">
                  <c:v>0.84799999999999998</c:v>
                </c:pt>
                <c:pt idx="103">
                  <c:v>0.84799999999999998</c:v>
                </c:pt>
                <c:pt idx="104">
                  <c:v>0.84799999999999998</c:v>
                </c:pt>
                <c:pt idx="105">
                  <c:v>0.84799999999999998</c:v>
                </c:pt>
                <c:pt idx="106">
                  <c:v>0.84799999999999998</c:v>
                </c:pt>
                <c:pt idx="107">
                  <c:v>0.84799999999999998</c:v>
                </c:pt>
                <c:pt idx="108">
                  <c:v>0.84799999999999998</c:v>
                </c:pt>
                <c:pt idx="109">
                  <c:v>0.84799999999999998</c:v>
                </c:pt>
                <c:pt idx="110">
                  <c:v>0.84799999999999998</c:v>
                </c:pt>
                <c:pt idx="111">
                  <c:v>0.84799999999999998</c:v>
                </c:pt>
                <c:pt idx="112">
                  <c:v>0.84799999999999998</c:v>
                </c:pt>
                <c:pt idx="113">
                  <c:v>0.84799999999999998</c:v>
                </c:pt>
                <c:pt idx="114">
                  <c:v>0.84799999999999998</c:v>
                </c:pt>
                <c:pt idx="115">
                  <c:v>0.84799999999999998</c:v>
                </c:pt>
                <c:pt idx="116">
                  <c:v>0.84799999999999998</c:v>
                </c:pt>
                <c:pt idx="117">
                  <c:v>0.84799999999999998</c:v>
                </c:pt>
                <c:pt idx="118">
                  <c:v>0.84799999999999998</c:v>
                </c:pt>
                <c:pt idx="119">
                  <c:v>0.84799999999999998</c:v>
                </c:pt>
                <c:pt idx="120">
                  <c:v>0.84799999999999998</c:v>
                </c:pt>
                <c:pt idx="121">
                  <c:v>0.84799999999999998</c:v>
                </c:pt>
                <c:pt idx="122">
                  <c:v>0.84799999999999998</c:v>
                </c:pt>
                <c:pt idx="123">
                  <c:v>0.84799999999999998</c:v>
                </c:pt>
                <c:pt idx="124">
                  <c:v>0.84799999999999998</c:v>
                </c:pt>
                <c:pt idx="125">
                  <c:v>0.84799999999999998</c:v>
                </c:pt>
                <c:pt idx="126">
                  <c:v>0.84799999999999998</c:v>
                </c:pt>
                <c:pt idx="127">
                  <c:v>0.84799999999999998</c:v>
                </c:pt>
                <c:pt idx="128">
                  <c:v>0.84799999999999998</c:v>
                </c:pt>
                <c:pt idx="129">
                  <c:v>0.84799999999999998</c:v>
                </c:pt>
                <c:pt idx="130">
                  <c:v>0.84799999999999998</c:v>
                </c:pt>
                <c:pt idx="131">
                  <c:v>0.84799999999999998</c:v>
                </c:pt>
                <c:pt idx="132">
                  <c:v>0.84799999999999998</c:v>
                </c:pt>
                <c:pt idx="133">
                  <c:v>0.84799999999999998</c:v>
                </c:pt>
                <c:pt idx="134">
                  <c:v>0.84799999999999998</c:v>
                </c:pt>
                <c:pt idx="135">
                  <c:v>0.84799999999999998</c:v>
                </c:pt>
                <c:pt idx="136">
                  <c:v>0.84799999999999998</c:v>
                </c:pt>
                <c:pt idx="137">
                  <c:v>0.84799999999999998</c:v>
                </c:pt>
                <c:pt idx="138">
                  <c:v>0.84799999999999998</c:v>
                </c:pt>
                <c:pt idx="139">
                  <c:v>0.84799999999999998</c:v>
                </c:pt>
                <c:pt idx="140">
                  <c:v>0.84799999999999998</c:v>
                </c:pt>
                <c:pt idx="141">
                  <c:v>0.84799999999999998</c:v>
                </c:pt>
                <c:pt idx="142">
                  <c:v>0.84799999999999998</c:v>
                </c:pt>
                <c:pt idx="143">
                  <c:v>0.84799999999999998</c:v>
                </c:pt>
                <c:pt idx="144">
                  <c:v>0.84799999999999998</c:v>
                </c:pt>
                <c:pt idx="145">
                  <c:v>0.84799999999999998</c:v>
                </c:pt>
                <c:pt idx="146">
                  <c:v>0.84799999999999998</c:v>
                </c:pt>
                <c:pt idx="147">
                  <c:v>0.84799999999999998</c:v>
                </c:pt>
                <c:pt idx="148">
                  <c:v>0.84799999999999998</c:v>
                </c:pt>
                <c:pt idx="149">
                  <c:v>0.84799999999999998</c:v>
                </c:pt>
                <c:pt idx="150">
                  <c:v>0.84799999999999998</c:v>
                </c:pt>
                <c:pt idx="151">
                  <c:v>0.84799999999999998</c:v>
                </c:pt>
                <c:pt idx="152">
                  <c:v>0.84799999999999998</c:v>
                </c:pt>
                <c:pt idx="153">
                  <c:v>0.84799999999999998</c:v>
                </c:pt>
                <c:pt idx="154">
                  <c:v>0.84799999999999998</c:v>
                </c:pt>
                <c:pt idx="155">
                  <c:v>0.84799999999999998</c:v>
                </c:pt>
                <c:pt idx="156">
                  <c:v>0.84799999999999998</c:v>
                </c:pt>
                <c:pt idx="157">
                  <c:v>0.84799999999999998</c:v>
                </c:pt>
                <c:pt idx="158">
                  <c:v>0.84799999999999998</c:v>
                </c:pt>
                <c:pt idx="159">
                  <c:v>0.84799999999999998</c:v>
                </c:pt>
                <c:pt idx="160">
                  <c:v>0.84799999999999998</c:v>
                </c:pt>
                <c:pt idx="161">
                  <c:v>0.84799999999999998</c:v>
                </c:pt>
                <c:pt idx="162">
                  <c:v>0.84799999999999998</c:v>
                </c:pt>
                <c:pt idx="163">
                  <c:v>0.84799999999999998</c:v>
                </c:pt>
                <c:pt idx="164">
                  <c:v>0.84799999999999998</c:v>
                </c:pt>
                <c:pt idx="165">
                  <c:v>0.84799999999999998</c:v>
                </c:pt>
                <c:pt idx="166">
                  <c:v>0.84799999999999998</c:v>
                </c:pt>
                <c:pt idx="167">
                  <c:v>0.84799999999999998</c:v>
                </c:pt>
                <c:pt idx="168">
                  <c:v>0.84799999999999998</c:v>
                </c:pt>
                <c:pt idx="169">
                  <c:v>0.84799999999999998</c:v>
                </c:pt>
                <c:pt idx="170">
                  <c:v>0.84799999999999998</c:v>
                </c:pt>
                <c:pt idx="171">
                  <c:v>0.84799999999999998</c:v>
                </c:pt>
                <c:pt idx="172">
                  <c:v>0.84799999999999998</c:v>
                </c:pt>
                <c:pt idx="173">
                  <c:v>0.84799999999999998</c:v>
                </c:pt>
                <c:pt idx="174">
                  <c:v>0.84799999999999998</c:v>
                </c:pt>
                <c:pt idx="175">
                  <c:v>0.84799999999999998</c:v>
                </c:pt>
                <c:pt idx="176">
                  <c:v>0.84799999999999998</c:v>
                </c:pt>
                <c:pt idx="177">
                  <c:v>0.84799999999999998</c:v>
                </c:pt>
                <c:pt idx="178">
                  <c:v>0.84799999999999998</c:v>
                </c:pt>
                <c:pt idx="179">
                  <c:v>0.84799999999999998</c:v>
                </c:pt>
                <c:pt idx="180">
                  <c:v>0.84799999999999998</c:v>
                </c:pt>
                <c:pt idx="181">
                  <c:v>0.84799999999999998</c:v>
                </c:pt>
                <c:pt idx="182">
                  <c:v>0.84799999999999998</c:v>
                </c:pt>
                <c:pt idx="183">
                  <c:v>0.84799999999999998</c:v>
                </c:pt>
                <c:pt idx="184">
                  <c:v>0.84799999999999998</c:v>
                </c:pt>
                <c:pt idx="185">
                  <c:v>0.84799999999999998</c:v>
                </c:pt>
                <c:pt idx="186">
                  <c:v>0.84799999999999998</c:v>
                </c:pt>
                <c:pt idx="187">
                  <c:v>0.84799999999999998</c:v>
                </c:pt>
                <c:pt idx="188">
                  <c:v>0.84799999999999998</c:v>
                </c:pt>
                <c:pt idx="189">
                  <c:v>0.84799999999999998</c:v>
                </c:pt>
                <c:pt idx="190">
                  <c:v>0.84799999999999998</c:v>
                </c:pt>
                <c:pt idx="191">
                  <c:v>0.84799999999999998</c:v>
                </c:pt>
                <c:pt idx="192">
                  <c:v>0.84799999999999998</c:v>
                </c:pt>
                <c:pt idx="193">
                  <c:v>0.84799999999999998</c:v>
                </c:pt>
                <c:pt idx="194">
                  <c:v>0.84799999999999998</c:v>
                </c:pt>
                <c:pt idx="195">
                  <c:v>0.84799999999999998</c:v>
                </c:pt>
                <c:pt idx="196">
                  <c:v>0.84799999999999998</c:v>
                </c:pt>
                <c:pt idx="197">
                  <c:v>0.84799999999999998</c:v>
                </c:pt>
                <c:pt idx="198">
                  <c:v>0.84799999999999998</c:v>
                </c:pt>
                <c:pt idx="199">
                  <c:v>0.84799999999999998</c:v>
                </c:pt>
                <c:pt idx="200">
                  <c:v>0.84799999999999998</c:v>
                </c:pt>
                <c:pt idx="201">
                  <c:v>0.84799999999999998</c:v>
                </c:pt>
                <c:pt idx="202">
                  <c:v>0.84799999999999998</c:v>
                </c:pt>
                <c:pt idx="203">
                  <c:v>0.84799999999999998</c:v>
                </c:pt>
                <c:pt idx="204">
                  <c:v>0.84799999999999998</c:v>
                </c:pt>
                <c:pt idx="205">
                  <c:v>0.84799999999999998</c:v>
                </c:pt>
                <c:pt idx="206">
                  <c:v>0.84799999999999998</c:v>
                </c:pt>
                <c:pt idx="207">
                  <c:v>0.84799999999999998</c:v>
                </c:pt>
                <c:pt idx="208">
                  <c:v>0.84799999999999998</c:v>
                </c:pt>
                <c:pt idx="209">
                  <c:v>0.84799999999999998</c:v>
                </c:pt>
                <c:pt idx="210">
                  <c:v>0.84799999999999998</c:v>
                </c:pt>
                <c:pt idx="211">
                  <c:v>0.84799999999999998</c:v>
                </c:pt>
                <c:pt idx="212">
                  <c:v>0.84799999999999998</c:v>
                </c:pt>
                <c:pt idx="213">
                  <c:v>0.84799999999999998</c:v>
                </c:pt>
                <c:pt idx="214">
                  <c:v>0.84799999999999998</c:v>
                </c:pt>
                <c:pt idx="215">
                  <c:v>0.84799999999999998</c:v>
                </c:pt>
                <c:pt idx="216">
                  <c:v>0.84799999999999998</c:v>
                </c:pt>
                <c:pt idx="217">
                  <c:v>0.84799999999999998</c:v>
                </c:pt>
                <c:pt idx="218">
                  <c:v>0.84799999999999998</c:v>
                </c:pt>
                <c:pt idx="219">
                  <c:v>0.84799999999999998</c:v>
                </c:pt>
                <c:pt idx="220">
                  <c:v>0.84799999999999998</c:v>
                </c:pt>
                <c:pt idx="221">
                  <c:v>0.84799999999999998</c:v>
                </c:pt>
                <c:pt idx="222">
                  <c:v>0.84799999999999998</c:v>
                </c:pt>
                <c:pt idx="223">
                  <c:v>0.84799999999999998</c:v>
                </c:pt>
                <c:pt idx="224">
                  <c:v>0.84799999999999998</c:v>
                </c:pt>
                <c:pt idx="225">
                  <c:v>0.84799999999999998</c:v>
                </c:pt>
                <c:pt idx="226">
                  <c:v>0.84799999999999998</c:v>
                </c:pt>
                <c:pt idx="227">
                  <c:v>0.84799999999999998</c:v>
                </c:pt>
                <c:pt idx="228">
                  <c:v>0.84799999999999998</c:v>
                </c:pt>
                <c:pt idx="229">
                  <c:v>0.8479999999999999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14B2-4341-B9D1-66DA8D05556F}"/>
            </c:ext>
          </c:extLst>
        </c:ser>
        <c:ser>
          <c:idx val="5"/>
          <c:order val="5"/>
          <c:tx>
            <c:strRef>
              <c:f>画图!$G$1</c:f>
              <c:strCache>
                <c:ptCount val="1"/>
              </c:strCache>
            </c:strRef>
          </c:tx>
          <c:spPr>
            <a:ln w="19050">
              <a:solidFill>
                <a:srgbClr val="878787"/>
              </a:solidFill>
              <a:prstDash val="sysDash"/>
            </a:ln>
          </c:spPr>
          <c:marker>
            <c:symbol val="none"/>
          </c:marker>
          <c:cat>
            <c:strRef>
              <c:f>画图!$A$2:$A$231</c:f>
              <c:strCache>
                <c:ptCount val="23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  <c:pt idx="220">
                  <c:v>2025-12-01</c:v>
                </c:pt>
                <c:pt idx="221">
                  <c:v>2025-12-02</c:v>
                </c:pt>
                <c:pt idx="222">
                  <c:v>2025-12-03</c:v>
                </c:pt>
                <c:pt idx="223">
                  <c:v>2025-12-04</c:v>
                </c:pt>
                <c:pt idx="224">
                  <c:v>2025-12-05</c:v>
                </c:pt>
                <c:pt idx="225">
                  <c:v>2025-12-08</c:v>
                </c:pt>
                <c:pt idx="226">
                  <c:v>2025-12-09</c:v>
                </c:pt>
                <c:pt idx="227">
                  <c:v>2025-12-10</c:v>
                </c:pt>
                <c:pt idx="228">
                  <c:v>2025-12-11</c:v>
                </c:pt>
                <c:pt idx="229">
                  <c:v>2025-12-12</c:v>
                </c:pt>
              </c:strCache>
            </c:strRef>
          </c:cat>
          <c:val>
            <c:numRef>
              <c:f>画图!$G$2:$G$231</c:f>
              <c:numCache>
                <c:formatCode>0.00_);[Red]\(0.00\)</c:formatCode>
                <c:ptCount val="230"/>
                <c:pt idx="0">
                  <c:v>1.696</c:v>
                </c:pt>
                <c:pt idx="1">
                  <c:v>1.696</c:v>
                </c:pt>
                <c:pt idx="2">
                  <c:v>1.696</c:v>
                </c:pt>
                <c:pt idx="3">
                  <c:v>1.696</c:v>
                </c:pt>
                <c:pt idx="4">
                  <c:v>1.696</c:v>
                </c:pt>
                <c:pt idx="5">
                  <c:v>1.696</c:v>
                </c:pt>
                <c:pt idx="6">
                  <c:v>1.696</c:v>
                </c:pt>
                <c:pt idx="7">
                  <c:v>1.696</c:v>
                </c:pt>
                <c:pt idx="8">
                  <c:v>1.696</c:v>
                </c:pt>
                <c:pt idx="9">
                  <c:v>1.696</c:v>
                </c:pt>
                <c:pt idx="10">
                  <c:v>1.696</c:v>
                </c:pt>
                <c:pt idx="11">
                  <c:v>1.696</c:v>
                </c:pt>
                <c:pt idx="12">
                  <c:v>1.696</c:v>
                </c:pt>
                <c:pt idx="13">
                  <c:v>1.696</c:v>
                </c:pt>
                <c:pt idx="14">
                  <c:v>1.696</c:v>
                </c:pt>
                <c:pt idx="15">
                  <c:v>1.696</c:v>
                </c:pt>
                <c:pt idx="16">
                  <c:v>1.696</c:v>
                </c:pt>
                <c:pt idx="17">
                  <c:v>1.696</c:v>
                </c:pt>
                <c:pt idx="18">
                  <c:v>1.696</c:v>
                </c:pt>
                <c:pt idx="19">
                  <c:v>1.696</c:v>
                </c:pt>
                <c:pt idx="20">
                  <c:v>1.696</c:v>
                </c:pt>
                <c:pt idx="21">
                  <c:v>1.696</c:v>
                </c:pt>
                <c:pt idx="22">
                  <c:v>1.696</c:v>
                </c:pt>
                <c:pt idx="23">
                  <c:v>1.696</c:v>
                </c:pt>
                <c:pt idx="24">
                  <c:v>1.696</c:v>
                </c:pt>
                <c:pt idx="25">
                  <c:v>1.696</c:v>
                </c:pt>
                <c:pt idx="26">
                  <c:v>1.696</c:v>
                </c:pt>
                <c:pt idx="27">
                  <c:v>1.696</c:v>
                </c:pt>
                <c:pt idx="28">
                  <c:v>1.696</c:v>
                </c:pt>
                <c:pt idx="29">
                  <c:v>1.696</c:v>
                </c:pt>
                <c:pt idx="30">
                  <c:v>1.696</c:v>
                </c:pt>
                <c:pt idx="31">
                  <c:v>1.696</c:v>
                </c:pt>
                <c:pt idx="32">
                  <c:v>1.696</c:v>
                </c:pt>
                <c:pt idx="33">
                  <c:v>1.696</c:v>
                </c:pt>
                <c:pt idx="34">
                  <c:v>1.696</c:v>
                </c:pt>
                <c:pt idx="35">
                  <c:v>1.696</c:v>
                </c:pt>
                <c:pt idx="36">
                  <c:v>1.696</c:v>
                </c:pt>
                <c:pt idx="37">
                  <c:v>1.696</c:v>
                </c:pt>
                <c:pt idx="38">
                  <c:v>1.696</c:v>
                </c:pt>
                <c:pt idx="39">
                  <c:v>1.696</c:v>
                </c:pt>
                <c:pt idx="40">
                  <c:v>1.696</c:v>
                </c:pt>
                <c:pt idx="41">
                  <c:v>1.696</c:v>
                </c:pt>
                <c:pt idx="42">
                  <c:v>1.696</c:v>
                </c:pt>
                <c:pt idx="43">
                  <c:v>1.696</c:v>
                </c:pt>
                <c:pt idx="44">
                  <c:v>1.696</c:v>
                </c:pt>
                <c:pt idx="45">
                  <c:v>1.696</c:v>
                </c:pt>
                <c:pt idx="46">
                  <c:v>1.696</c:v>
                </c:pt>
                <c:pt idx="47">
                  <c:v>1.696</c:v>
                </c:pt>
                <c:pt idx="48">
                  <c:v>1.696</c:v>
                </c:pt>
                <c:pt idx="49">
                  <c:v>1.696</c:v>
                </c:pt>
                <c:pt idx="50">
                  <c:v>1.696</c:v>
                </c:pt>
                <c:pt idx="51">
                  <c:v>1.696</c:v>
                </c:pt>
                <c:pt idx="52">
                  <c:v>1.696</c:v>
                </c:pt>
                <c:pt idx="53">
                  <c:v>1.696</c:v>
                </c:pt>
                <c:pt idx="54">
                  <c:v>1.696</c:v>
                </c:pt>
                <c:pt idx="55">
                  <c:v>1.696</c:v>
                </c:pt>
                <c:pt idx="56">
                  <c:v>1.696</c:v>
                </c:pt>
                <c:pt idx="57">
                  <c:v>1.696</c:v>
                </c:pt>
                <c:pt idx="58">
                  <c:v>1.696</c:v>
                </c:pt>
                <c:pt idx="59">
                  <c:v>1.696</c:v>
                </c:pt>
                <c:pt idx="60">
                  <c:v>1.696</c:v>
                </c:pt>
                <c:pt idx="61">
                  <c:v>1.696</c:v>
                </c:pt>
                <c:pt idx="62">
                  <c:v>1.696</c:v>
                </c:pt>
                <c:pt idx="63">
                  <c:v>1.696</c:v>
                </c:pt>
                <c:pt idx="64">
                  <c:v>1.696</c:v>
                </c:pt>
                <c:pt idx="65">
                  <c:v>1.696</c:v>
                </c:pt>
                <c:pt idx="66">
                  <c:v>1.696</c:v>
                </c:pt>
                <c:pt idx="67">
                  <c:v>1.696</c:v>
                </c:pt>
                <c:pt idx="68">
                  <c:v>1.696</c:v>
                </c:pt>
                <c:pt idx="69">
                  <c:v>1.696</c:v>
                </c:pt>
                <c:pt idx="70">
                  <c:v>1.696</c:v>
                </c:pt>
                <c:pt idx="71">
                  <c:v>1.696</c:v>
                </c:pt>
                <c:pt idx="72">
                  <c:v>1.696</c:v>
                </c:pt>
                <c:pt idx="73">
                  <c:v>1.696</c:v>
                </c:pt>
                <c:pt idx="74">
                  <c:v>1.696</c:v>
                </c:pt>
                <c:pt idx="75">
                  <c:v>1.696</c:v>
                </c:pt>
                <c:pt idx="76">
                  <c:v>1.696</c:v>
                </c:pt>
                <c:pt idx="77">
                  <c:v>1.696</c:v>
                </c:pt>
                <c:pt idx="78">
                  <c:v>1.696</c:v>
                </c:pt>
                <c:pt idx="79">
                  <c:v>1.696</c:v>
                </c:pt>
                <c:pt idx="80">
                  <c:v>1.696</c:v>
                </c:pt>
                <c:pt idx="81">
                  <c:v>1.696</c:v>
                </c:pt>
                <c:pt idx="82">
                  <c:v>1.696</c:v>
                </c:pt>
                <c:pt idx="83">
                  <c:v>1.696</c:v>
                </c:pt>
                <c:pt idx="84">
                  <c:v>1.696</c:v>
                </c:pt>
                <c:pt idx="85">
                  <c:v>1.696</c:v>
                </c:pt>
                <c:pt idx="86">
                  <c:v>1.696</c:v>
                </c:pt>
                <c:pt idx="87">
                  <c:v>1.696</c:v>
                </c:pt>
                <c:pt idx="88">
                  <c:v>1.696</c:v>
                </c:pt>
                <c:pt idx="89">
                  <c:v>1.696</c:v>
                </c:pt>
                <c:pt idx="90">
                  <c:v>1.696</c:v>
                </c:pt>
                <c:pt idx="91">
                  <c:v>1.696</c:v>
                </c:pt>
                <c:pt idx="92">
                  <c:v>1.696</c:v>
                </c:pt>
                <c:pt idx="93">
                  <c:v>1.696</c:v>
                </c:pt>
                <c:pt idx="94">
                  <c:v>1.696</c:v>
                </c:pt>
                <c:pt idx="95">
                  <c:v>1.696</c:v>
                </c:pt>
                <c:pt idx="96">
                  <c:v>1.696</c:v>
                </c:pt>
                <c:pt idx="97">
                  <c:v>1.696</c:v>
                </c:pt>
                <c:pt idx="98">
                  <c:v>1.696</c:v>
                </c:pt>
                <c:pt idx="99">
                  <c:v>1.696</c:v>
                </c:pt>
                <c:pt idx="100">
                  <c:v>1.696</c:v>
                </c:pt>
                <c:pt idx="101">
                  <c:v>1.696</c:v>
                </c:pt>
                <c:pt idx="102">
                  <c:v>1.696</c:v>
                </c:pt>
                <c:pt idx="103">
                  <c:v>1.696</c:v>
                </c:pt>
                <c:pt idx="104">
                  <c:v>1.696</c:v>
                </c:pt>
                <c:pt idx="105">
                  <c:v>1.696</c:v>
                </c:pt>
                <c:pt idx="106">
                  <c:v>1.696</c:v>
                </c:pt>
                <c:pt idx="107">
                  <c:v>1.696</c:v>
                </c:pt>
                <c:pt idx="108">
                  <c:v>1.696</c:v>
                </c:pt>
                <c:pt idx="109">
                  <c:v>1.696</c:v>
                </c:pt>
                <c:pt idx="110">
                  <c:v>1.696</c:v>
                </c:pt>
                <c:pt idx="111">
                  <c:v>1.696</c:v>
                </c:pt>
                <c:pt idx="112">
                  <c:v>1.696</c:v>
                </c:pt>
                <c:pt idx="113">
                  <c:v>1.696</c:v>
                </c:pt>
                <c:pt idx="114">
                  <c:v>1.696</c:v>
                </c:pt>
                <c:pt idx="115">
                  <c:v>1.696</c:v>
                </c:pt>
                <c:pt idx="116">
                  <c:v>1.696</c:v>
                </c:pt>
                <c:pt idx="117">
                  <c:v>1.696</c:v>
                </c:pt>
                <c:pt idx="118">
                  <c:v>1.696</c:v>
                </c:pt>
                <c:pt idx="119">
                  <c:v>1.696</c:v>
                </c:pt>
                <c:pt idx="120">
                  <c:v>1.696</c:v>
                </c:pt>
                <c:pt idx="121">
                  <c:v>1.696</c:v>
                </c:pt>
                <c:pt idx="122">
                  <c:v>1.696</c:v>
                </c:pt>
                <c:pt idx="123">
                  <c:v>1.696</c:v>
                </c:pt>
                <c:pt idx="124">
                  <c:v>1.696</c:v>
                </c:pt>
                <c:pt idx="125">
                  <c:v>1.696</c:v>
                </c:pt>
                <c:pt idx="126">
                  <c:v>1.696</c:v>
                </c:pt>
                <c:pt idx="127">
                  <c:v>1.696</c:v>
                </c:pt>
                <c:pt idx="128">
                  <c:v>1.696</c:v>
                </c:pt>
                <c:pt idx="129">
                  <c:v>1.696</c:v>
                </c:pt>
                <c:pt idx="130">
                  <c:v>1.696</c:v>
                </c:pt>
                <c:pt idx="131">
                  <c:v>1.696</c:v>
                </c:pt>
                <c:pt idx="132">
                  <c:v>1.696</c:v>
                </c:pt>
                <c:pt idx="133">
                  <c:v>1.696</c:v>
                </c:pt>
                <c:pt idx="134">
                  <c:v>1.696</c:v>
                </c:pt>
                <c:pt idx="135">
                  <c:v>1.696</c:v>
                </c:pt>
                <c:pt idx="136">
                  <c:v>1.696</c:v>
                </c:pt>
                <c:pt idx="137">
                  <c:v>1.696</c:v>
                </c:pt>
                <c:pt idx="138">
                  <c:v>1.696</c:v>
                </c:pt>
                <c:pt idx="139">
                  <c:v>1.696</c:v>
                </c:pt>
                <c:pt idx="140">
                  <c:v>1.696</c:v>
                </c:pt>
                <c:pt idx="141">
                  <c:v>1.696</c:v>
                </c:pt>
                <c:pt idx="142">
                  <c:v>1.696</c:v>
                </c:pt>
                <c:pt idx="143">
                  <c:v>1.696</c:v>
                </c:pt>
                <c:pt idx="144">
                  <c:v>1.696</c:v>
                </c:pt>
                <c:pt idx="145">
                  <c:v>1.696</c:v>
                </c:pt>
                <c:pt idx="146">
                  <c:v>1.696</c:v>
                </c:pt>
                <c:pt idx="147">
                  <c:v>1.696</c:v>
                </c:pt>
                <c:pt idx="148">
                  <c:v>1.696</c:v>
                </c:pt>
                <c:pt idx="149">
                  <c:v>1.696</c:v>
                </c:pt>
                <c:pt idx="150">
                  <c:v>1.696</c:v>
                </c:pt>
                <c:pt idx="151">
                  <c:v>1.696</c:v>
                </c:pt>
                <c:pt idx="152">
                  <c:v>1.696</c:v>
                </c:pt>
                <c:pt idx="153">
                  <c:v>1.696</c:v>
                </c:pt>
                <c:pt idx="154">
                  <c:v>1.696</c:v>
                </c:pt>
                <c:pt idx="155">
                  <c:v>1.696</c:v>
                </c:pt>
                <c:pt idx="156">
                  <c:v>1.696</c:v>
                </c:pt>
                <c:pt idx="157">
                  <c:v>1.696</c:v>
                </c:pt>
                <c:pt idx="158">
                  <c:v>1.696</c:v>
                </c:pt>
                <c:pt idx="159">
                  <c:v>1.696</c:v>
                </c:pt>
                <c:pt idx="160">
                  <c:v>1.696</c:v>
                </c:pt>
                <c:pt idx="161">
                  <c:v>1.696</c:v>
                </c:pt>
                <c:pt idx="162">
                  <c:v>1.696</c:v>
                </c:pt>
                <c:pt idx="163">
                  <c:v>1.696</c:v>
                </c:pt>
                <c:pt idx="164">
                  <c:v>1.696</c:v>
                </c:pt>
                <c:pt idx="165">
                  <c:v>1.696</c:v>
                </c:pt>
                <c:pt idx="166">
                  <c:v>1.696</c:v>
                </c:pt>
                <c:pt idx="167">
                  <c:v>1.696</c:v>
                </c:pt>
                <c:pt idx="168">
                  <c:v>1.696</c:v>
                </c:pt>
                <c:pt idx="169">
                  <c:v>1.696</c:v>
                </c:pt>
                <c:pt idx="170">
                  <c:v>1.696</c:v>
                </c:pt>
                <c:pt idx="171">
                  <c:v>1.696</c:v>
                </c:pt>
                <c:pt idx="172">
                  <c:v>1.696</c:v>
                </c:pt>
                <c:pt idx="173">
                  <c:v>1.696</c:v>
                </c:pt>
                <c:pt idx="174">
                  <c:v>1.696</c:v>
                </c:pt>
                <c:pt idx="175">
                  <c:v>1.696</c:v>
                </c:pt>
                <c:pt idx="176">
                  <c:v>1.696</c:v>
                </c:pt>
                <c:pt idx="177">
                  <c:v>1.696</c:v>
                </c:pt>
                <c:pt idx="178">
                  <c:v>1.696</c:v>
                </c:pt>
                <c:pt idx="179">
                  <c:v>1.696</c:v>
                </c:pt>
                <c:pt idx="180">
                  <c:v>1.696</c:v>
                </c:pt>
                <c:pt idx="181">
                  <c:v>1.696</c:v>
                </c:pt>
                <c:pt idx="182">
                  <c:v>1.696</c:v>
                </c:pt>
                <c:pt idx="183">
                  <c:v>1.696</c:v>
                </c:pt>
                <c:pt idx="184">
                  <c:v>1.696</c:v>
                </c:pt>
                <c:pt idx="185">
                  <c:v>1.696</c:v>
                </c:pt>
                <c:pt idx="186">
                  <c:v>1.696</c:v>
                </c:pt>
                <c:pt idx="187">
                  <c:v>1.696</c:v>
                </c:pt>
                <c:pt idx="188">
                  <c:v>1.696</c:v>
                </c:pt>
                <c:pt idx="189">
                  <c:v>1.696</c:v>
                </c:pt>
                <c:pt idx="190">
                  <c:v>1.696</c:v>
                </c:pt>
                <c:pt idx="191">
                  <c:v>1.696</c:v>
                </c:pt>
                <c:pt idx="192">
                  <c:v>1.696</c:v>
                </c:pt>
                <c:pt idx="193">
                  <c:v>1.696</c:v>
                </c:pt>
                <c:pt idx="194">
                  <c:v>1.696</c:v>
                </c:pt>
                <c:pt idx="195">
                  <c:v>1.696</c:v>
                </c:pt>
                <c:pt idx="196">
                  <c:v>1.696</c:v>
                </c:pt>
                <c:pt idx="197">
                  <c:v>1.696</c:v>
                </c:pt>
                <c:pt idx="198">
                  <c:v>1.696</c:v>
                </c:pt>
                <c:pt idx="199">
                  <c:v>1.696</c:v>
                </c:pt>
                <c:pt idx="200">
                  <c:v>1.696</c:v>
                </c:pt>
                <c:pt idx="201">
                  <c:v>1.696</c:v>
                </c:pt>
                <c:pt idx="202">
                  <c:v>1.696</c:v>
                </c:pt>
                <c:pt idx="203">
                  <c:v>1.696</c:v>
                </c:pt>
                <c:pt idx="204">
                  <c:v>1.696</c:v>
                </c:pt>
                <c:pt idx="205">
                  <c:v>1.696</c:v>
                </c:pt>
                <c:pt idx="206">
                  <c:v>1.696</c:v>
                </c:pt>
                <c:pt idx="207">
                  <c:v>1.696</c:v>
                </c:pt>
                <c:pt idx="208">
                  <c:v>1.696</c:v>
                </c:pt>
                <c:pt idx="209">
                  <c:v>1.696</c:v>
                </c:pt>
                <c:pt idx="210">
                  <c:v>1.696</c:v>
                </c:pt>
                <c:pt idx="211">
                  <c:v>1.696</c:v>
                </c:pt>
                <c:pt idx="212">
                  <c:v>1.696</c:v>
                </c:pt>
                <c:pt idx="213">
                  <c:v>1.696</c:v>
                </c:pt>
                <c:pt idx="214">
                  <c:v>1.696</c:v>
                </c:pt>
                <c:pt idx="215">
                  <c:v>1.696</c:v>
                </c:pt>
                <c:pt idx="216">
                  <c:v>1.696</c:v>
                </c:pt>
                <c:pt idx="217">
                  <c:v>1.696</c:v>
                </c:pt>
                <c:pt idx="218">
                  <c:v>1.696</c:v>
                </c:pt>
                <c:pt idx="219">
                  <c:v>1.696</c:v>
                </c:pt>
                <c:pt idx="220">
                  <c:v>1.696</c:v>
                </c:pt>
                <c:pt idx="221">
                  <c:v>1.696</c:v>
                </c:pt>
                <c:pt idx="222">
                  <c:v>1.696</c:v>
                </c:pt>
                <c:pt idx="223">
                  <c:v>1.696</c:v>
                </c:pt>
                <c:pt idx="224">
                  <c:v>1.696</c:v>
                </c:pt>
                <c:pt idx="225">
                  <c:v>1.696</c:v>
                </c:pt>
                <c:pt idx="226">
                  <c:v>1.696</c:v>
                </c:pt>
                <c:pt idx="227">
                  <c:v>1.696</c:v>
                </c:pt>
                <c:pt idx="228">
                  <c:v>1.696</c:v>
                </c:pt>
                <c:pt idx="229">
                  <c:v>1.69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14B2-4341-B9D1-66DA8D055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317643904"/>
        <c:axId val="-317664032"/>
      </c:lineChart>
      <c:catAx>
        <c:axId val="-317643904"/>
        <c:scaling>
          <c:orientation val="minMax"/>
        </c:scaling>
        <c:delete val="0"/>
        <c:axPos val="b"/>
        <c:numFmt formatCode="yyyy\-mm\-dd;@" sourceLinked="0"/>
        <c:majorTickMark val="out"/>
        <c:minorTickMark val="none"/>
        <c:tickLblPos val="low"/>
        <c:spPr>
          <a:noFill/>
          <a:ln w="6350">
            <a:solidFill>
              <a:sysClr val="windowText" lastClr="000000">
                <a:lumMod val="10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rgbClr val="000000"/>
                </a:solidFill>
                <a:latin typeface="仿宋_GB2312"/>
                <a:ea typeface="仿宋_GB2312"/>
                <a:cs typeface="仿宋_GB2312"/>
              </a:defRPr>
            </a:pPr>
            <a:endParaRPr lang="zh-CN"/>
          </a:p>
        </c:txPr>
        <c:crossAx val="-317664032"/>
        <c:crosses val="autoZero"/>
        <c:auto val="1"/>
        <c:lblAlgn val="ctr"/>
        <c:lblOffset val="100"/>
        <c:noMultiLvlLbl val="1"/>
      </c:catAx>
      <c:valAx>
        <c:axId val="-317664032"/>
        <c:scaling>
          <c:orientation val="minMax"/>
          <c:max val="4"/>
          <c:min val="-4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6350">
            <a:solidFill>
              <a:sysClr val="windowText" lastClr="000000">
                <a:lumMod val="10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rgbClr val="000000"/>
                </a:solidFill>
                <a:latin typeface="仿宋_GB2312"/>
                <a:ea typeface="仿宋_GB2312"/>
                <a:cs typeface="仿宋_GB2312"/>
              </a:defRPr>
            </a:pPr>
            <a:endParaRPr lang="zh-CN"/>
          </a:p>
        </c:txPr>
        <c:crossAx val="-317643904"/>
        <c:crosses val="autoZero"/>
        <c:crossBetween val="between"/>
      </c:valAx>
      <c:spPr>
        <a:noFill/>
        <a:ln w="25400"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800">
          <a:latin typeface="仿宋_GB2312"/>
          <a:ea typeface="仿宋_GB2312"/>
          <a:cs typeface="仿宋_GB2312"/>
        </a:defRPr>
      </a:pPr>
      <a:endParaRPr lang="zh-CN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宏观打分历史分位数</c:v>
                </c:pt>
              </c:strCache>
            </c:strRef>
          </c:tx>
          <c:spPr>
            <a:ln w="19050">
              <a:solidFill>
                <a:srgbClr val="0070C0"/>
              </a:solidFill>
            </a:ln>
          </c:spPr>
          <c:marker>
            <c:symbol val="none"/>
          </c:marker>
          <c:cat>
            <c:numRef>
              <c:f>Sheet1!$A$249:$A$298</c:f>
              <c:numCache>
                <c:formatCode>yyyy\-mm\-dd</c:formatCode>
                <c:ptCount val="50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  <c:pt idx="48" formatCode="m/d/yyyy">
                  <c:v>45998</c:v>
                </c:pt>
                <c:pt idx="49" formatCode="m/d/yyyy">
                  <c:v>46005</c:v>
                </c:pt>
              </c:numCache>
            </c:numRef>
          </c:cat>
          <c:val>
            <c:numRef>
              <c:f>Sheet1!$B$249:$B$298</c:f>
              <c:numCache>
                <c:formatCode>0.0%</c:formatCode>
                <c:ptCount val="50"/>
                <c:pt idx="0">
                  <c:v>0.60899999999999999</c:v>
                </c:pt>
                <c:pt idx="1">
                  <c:v>0.55800000000000005</c:v>
                </c:pt>
                <c:pt idx="2">
                  <c:v>0.77300000000000002</c:v>
                </c:pt>
                <c:pt idx="3">
                  <c:v>0.5</c:v>
                </c:pt>
                <c:pt idx="4">
                  <c:v>0.27</c:v>
                </c:pt>
                <c:pt idx="5">
                  <c:v>0.64900000000000002</c:v>
                </c:pt>
                <c:pt idx="6">
                  <c:v>0.70799999999999996</c:v>
                </c:pt>
                <c:pt idx="7">
                  <c:v>0.78400000000000003</c:v>
                </c:pt>
                <c:pt idx="8">
                  <c:v>0.69299999999999995</c:v>
                </c:pt>
                <c:pt idx="9">
                  <c:v>0.2</c:v>
                </c:pt>
                <c:pt idx="10">
                  <c:v>0.17100000000000001</c:v>
                </c:pt>
                <c:pt idx="11">
                  <c:v>0.16</c:v>
                </c:pt>
                <c:pt idx="12">
                  <c:v>0.29499999999999998</c:v>
                </c:pt>
                <c:pt idx="13">
                  <c:v>0.38300000000000001</c:v>
                </c:pt>
                <c:pt idx="14">
                  <c:v>0.7</c:v>
                </c:pt>
                <c:pt idx="15">
                  <c:v>0.66</c:v>
                </c:pt>
                <c:pt idx="16">
                  <c:v>0.68899999999999995</c:v>
                </c:pt>
                <c:pt idx="17">
                  <c:v>0.63500000000000001</c:v>
                </c:pt>
                <c:pt idx="18">
                  <c:v>0.61599999999999999</c:v>
                </c:pt>
                <c:pt idx="19">
                  <c:v>0.81299999999999994</c:v>
                </c:pt>
                <c:pt idx="20">
                  <c:v>0.77700000000000002</c:v>
                </c:pt>
                <c:pt idx="21">
                  <c:v>0.79100000000000004</c:v>
                </c:pt>
                <c:pt idx="22">
                  <c:v>0.76200000000000001</c:v>
                </c:pt>
                <c:pt idx="23">
                  <c:v>0.64200000000000002</c:v>
                </c:pt>
                <c:pt idx="24">
                  <c:v>0.73699999999999999</c:v>
                </c:pt>
                <c:pt idx="25">
                  <c:v>0.65300000000000002</c:v>
                </c:pt>
                <c:pt idx="26">
                  <c:v>0.59799999999999998</c:v>
                </c:pt>
                <c:pt idx="27">
                  <c:v>0.67500000000000004</c:v>
                </c:pt>
                <c:pt idx="28">
                  <c:v>0.71699999999999997</c:v>
                </c:pt>
                <c:pt idx="29">
                  <c:v>0.79300000000000004</c:v>
                </c:pt>
                <c:pt idx="30">
                  <c:v>0.7</c:v>
                </c:pt>
                <c:pt idx="31">
                  <c:v>0.79200000000000004</c:v>
                </c:pt>
                <c:pt idx="32">
                  <c:v>0.83199999999999996</c:v>
                </c:pt>
                <c:pt idx="33">
                  <c:v>0.79600000000000004</c:v>
                </c:pt>
                <c:pt idx="34" formatCode="0.00%">
                  <c:v>0.80700000000000005</c:v>
                </c:pt>
                <c:pt idx="35" formatCode="0.00%">
                  <c:v>0.77300000000000002</c:v>
                </c:pt>
                <c:pt idx="36" formatCode="0.00%">
                  <c:v>0.48699999999999999</c:v>
                </c:pt>
                <c:pt idx="37" formatCode="0.00%">
                  <c:v>0.56999999999999995</c:v>
                </c:pt>
                <c:pt idx="38" formatCode="0.00%">
                  <c:v>0.58499999999999996</c:v>
                </c:pt>
                <c:pt idx="39" formatCode="0.00%">
                  <c:v>0.69</c:v>
                </c:pt>
                <c:pt idx="40" formatCode="0.00%">
                  <c:v>0.623</c:v>
                </c:pt>
                <c:pt idx="41" formatCode="0.00%">
                  <c:v>0.56200000000000006</c:v>
                </c:pt>
                <c:pt idx="42" formatCode="0.00%">
                  <c:v>0.50800000000000001</c:v>
                </c:pt>
                <c:pt idx="43" formatCode="0.00%">
                  <c:v>0.57199999999999995</c:v>
                </c:pt>
                <c:pt idx="44" formatCode="0.00%">
                  <c:v>0.82399999999999995</c:v>
                </c:pt>
                <c:pt idx="45" formatCode="0.00%">
                  <c:v>0.746</c:v>
                </c:pt>
                <c:pt idx="46" formatCode="0.00%">
                  <c:v>0.80500000000000005</c:v>
                </c:pt>
                <c:pt idx="47" formatCode="0.00%">
                  <c:v>0.64900000000000002</c:v>
                </c:pt>
                <c:pt idx="48" formatCode="0.00%">
                  <c:v>0.73199999999999998</c:v>
                </c:pt>
                <c:pt idx="49" formatCode="0.00%">
                  <c:v>0.76300000000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4E3-4CF4-8E20-F777CF5323F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ln w="190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Sheet1!$A$249:$A$298</c:f>
              <c:numCache>
                <c:formatCode>yyyy\-mm\-dd</c:formatCode>
                <c:ptCount val="50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  <c:pt idx="48" formatCode="m/d/yyyy">
                  <c:v>45998</c:v>
                </c:pt>
                <c:pt idx="49" formatCode="m/d/yyyy">
                  <c:v>46005</c:v>
                </c:pt>
              </c:numCache>
            </c:numRef>
          </c:cat>
          <c:val>
            <c:numRef>
              <c:f>Sheet1!$C$249:$C$298</c:f>
              <c:numCache>
                <c:formatCode>0%</c:formatCode>
                <c:ptCount val="5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4E3-4CF4-8E20-F777CF5323F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ln w="19050">
              <a:solidFill>
                <a:srgbClr val="0D97FF"/>
              </a:solidFill>
            </a:ln>
          </c:spPr>
          <c:marker>
            <c:symbol val="none"/>
          </c:marker>
          <c:cat>
            <c:numRef>
              <c:f>Sheet1!$A$249:$A$298</c:f>
              <c:numCache>
                <c:formatCode>yyyy\-mm\-dd</c:formatCode>
                <c:ptCount val="50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  <c:pt idx="48" formatCode="m/d/yyyy">
                  <c:v>45998</c:v>
                </c:pt>
                <c:pt idx="49" formatCode="m/d/yyyy">
                  <c:v>46005</c:v>
                </c:pt>
              </c:numCache>
            </c:numRef>
          </c:cat>
          <c:val>
            <c:numRef>
              <c:f>Sheet1!$D$249:$D$298</c:f>
              <c:numCache>
                <c:formatCode>0%</c:formatCode>
                <c:ptCount val="50"/>
                <c:pt idx="0">
                  <c:v>0.9</c:v>
                </c:pt>
                <c:pt idx="1">
                  <c:v>0.9</c:v>
                </c:pt>
                <c:pt idx="2">
                  <c:v>0.9</c:v>
                </c:pt>
                <c:pt idx="3">
                  <c:v>0.9</c:v>
                </c:pt>
                <c:pt idx="4">
                  <c:v>0.9</c:v>
                </c:pt>
                <c:pt idx="5">
                  <c:v>0.9</c:v>
                </c:pt>
                <c:pt idx="6">
                  <c:v>0.9</c:v>
                </c:pt>
                <c:pt idx="7">
                  <c:v>0.9</c:v>
                </c:pt>
                <c:pt idx="8">
                  <c:v>0.9</c:v>
                </c:pt>
                <c:pt idx="9">
                  <c:v>0.9</c:v>
                </c:pt>
                <c:pt idx="10">
                  <c:v>0.9</c:v>
                </c:pt>
                <c:pt idx="11">
                  <c:v>0.9</c:v>
                </c:pt>
                <c:pt idx="12">
                  <c:v>0.9</c:v>
                </c:pt>
                <c:pt idx="13">
                  <c:v>0.9</c:v>
                </c:pt>
                <c:pt idx="14">
                  <c:v>0.9</c:v>
                </c:pt>
                <c:pt idx="15">
                  <c:v>0.9</c:v>
                </c:pt>
                <c:pt idx="16">
                  <c:v>0.9</c:v>
                </c:pt>
                <c:pt idx="17">
                  <c:v>0.9</c:v>
                </c:pt>
                <c:pt idx="18">
                  <c:v>0.9</c:v>
                </c:pt>
                <c:pt idx="19">
                  <c:v>0.9</c:v>
                </c:pt>
                <c:pt idx="20">
                  <c:v>0.9</c:v>
                </c:pt>
                <c:pt idx="21">
                  <c:v>0.9</c:v>
                </c:pt>
                <c:pt idx="22">
                  <c:v>0.9</c:v>
                </c:pt>
                <c:pt idx="23">
                  <c:v>0.9</c:v>
                </c:pt>
                <c:pt idx="24">
                  <c:v>0.9</c:v>
                </c:pt>
                <c:pt idx="25">
                  <c:v>0.9</c:v>
                </c:pt>
                <c:pt idx="26">
                  <c:v>0.9</c:v>
                </c:pt>
                <c:pt idx="27">
                  <c:v>0.9</c:v>
                </c:pt>
                <c:pt idx="28">
                  <c:v>0.9</c:v>
                </c:pt>
                <c:pt idx="29">
                  <c:v>0.9</c:v>
                </c:pt>
                <c:pt idx="30">
                  <c:v>0.9</c:v>
                </c:pt>
                <c:pt idx="31">
                  <c:v>0.9</c:v>
                </c:pt>
                <c:pt idx="32">
                  <c:v>0.9</c:v>
                </c:pt>
                <c:pt idx="33">
                  <c:v>0.9</c:v>
                </c:pt>
                <c:pt idx="34">
                  <c:v>0.9</c:v>
                </c:pt>
                <c:pt idx="35">
                  <c:v>0.9</c:v>
                </c:pt>
                <c:pt idx="36">
                  <c:v>0.9</c:v>
                </c:pt>
                <c:pt idx="37">
                  <c:v>0.9</c:v>
                </c:pt>
                <c:pt idx="38">
                  <c:v>0.9</c:v>
                </c:pt>
                <c:pt idx="39">
                  <c:v>0.9</c:v>
                </c:pt>
                <c:pt idx="40">
                  <c:v>0.9</c:v>
                </c:pt>
                <c:pt idx="41">
                  <c:v>0.9</c:v>
                </c:pt>
                <c:pt idx="42">
                  <c:v>0.9</c:v>
                </c:pt>
                <c:pt idx="43">
                  <c:v>0.9</c:v>
                </c:pt>
                <c:pt idx="44">
                  <c:v>0.9</c:v>
                </c:pt>
                <c:pt idx="45">
                  <c:v>0.9</c:v>
                </c:pt>
                <c:pt idx="46">
                  <c:v>0.9</c:v>
                </c:pt>
                <c:pt idx="47">
                  <c:v>0.9</c:v>
                </c:pt>
                <c:pt idx="48">
                  <c:v>0.9</c:v>
                </c:pt>
                <c:pt idx="49">
                  <c:v>0.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8-612A-4425-8DAE-0752072062F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</c:strCache>
            </c:strRef>
          </c:tx>
          <c:spPr>
            <a:ln w="19050">
              <a:solidFill>
                <a:srgbClr val="FFB3B3"/>
              </a:solidFill>
            </a:ln>
          </c:spPr>
          <c:marker>
            <c:symbol val="none"/>
          </c:marker>
          <c:cat>
            <c:numRef>
              <c:f>Sheet1!$A$249:$A$298</c:f>
              <c:numCache>
                <c:formatCode>yyyy\-mm\-dd</c:formatCode>
                <c:ptCount val="50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  <c:pt idx="48" formatCode="m/d/yyyy">
                  <c:v>45998</c:v>
                </c:pt>
                <c:pt idx="49" formatCode="m/d/yyyy">
                  <c:v>46005</c:v>
                </c:pt>
              </c:numCache>
            </c:numRef>
          </c:cat>
          <c:val>
            <c:numRef>
              <c:f>Sheet1!$E$249:$E$298</c:f>
              <c:numCache>
                <c:formatCode>0%</c:formatCode>
                <c:ptCount val="50"/>
                <c:pt idx="0">
                  <c:v>0.69</c:v>
                </c:pt>
                <c:pt idx="1">
                  <c:v>0.69</c:v>
                </c:pt>
                <c:pt idx="2">
                  <c:v>0.69</c:v>
                </c:pt>
                <c:pt idx="3">
                  <c:v>0.69</c:v>
                </c:pt>
                <c:pt idx="4">
                  <c:v>0.69</c:v>
                </c:pt>
                <c:pt idx="5">
                  <c:v>0.69</c:v>
                </c:pt>
                <c:pt idx="6">
                  <c:v>0.69</c:v>
                </c:pt>
                <c:pt idx="7">
                  <c:v>0.69</c:v>
                </c:pt>
                <c:pt idx="8">
                  <c:v>0.69</c:v>
                </c:pt>
                <c:pt idx="9">
                  <c:v>0.69</c:v>
                </c:pt>
                <c:pt idx="10">
                  <c:v>0.69</c:v>
                </c:pt>
                <c:pt idx="11">
                  <c:v>0.69</c:v>
                </c:pt>
                <c:pt idx="12">
                  <c:v>0.69</c:v>
                </c:pt>
                <c:pt idx="13">
                  <c:v>0.69</c:v>
                </c:pt>
                <c:pt idx="14">
                  <c:v>0.69</c:v>
                </c:pt>
                <c:pt idx="15">
                  <c:v>0.69</c:v>
                </c:pt>
                <c:pt idx="16">
                  <c:v>0.69</c:v>
                </c:pt>
                <c:pt idx="17">
                  <c:v>0.69</c:v>
                </c:pt>
                <c:pt idx="18">
                  <c:v>0.69</c:v>
                </c:pt>
                <c:pt idx="19">
                  <c:v>0.69</c:v>
                </c:pt>
                <c:pt idx="20">
                  <c:v>0.69</c:v>
                </c:pt>
                <c:pt idx="21">
                  <c:v>0.69</c:v>
                </c:pt>
                <c:pt idx="22">
                  <c:v>0.69</c:v>
                </c:pt>
                <c:pt idx="23">
                  <c:v>0.69</c:v>
                </c:pt>
                <c:pt idx="24">
                  <c:v>0.69</c:v>
                </c:pt>
                <c:pt idx="25">
                  <c:v>0.69</c:v>
                </c:pt>
                <c:pt idx="26">
                  <c:v>0.69</c:v>
                </c:pt>
                <c:pt idx="27">
                  <c:v>0.69</c:v>
                </c:pt>
                <c:pt idx="28">
                  <c:v>0.69</c:v>
                </c:pt>
                <c:pt idx="29">
                  <c:v>0.69</c:v>
                </c:pt>
                <c:pt idx="30">
                  <c:v>0.69</c:v>
                </c:pt>
                <c:pt idx="31">
                  <c:v>0.69</c:v>
                </c:pt>
                <c:pt idx="32">
                  <c:v>0.69</c:v>
                </c:pt>
                <c:pt idx="33">
                  <c:v>0.69</c:v>
                </c:pt>
                <c:pt idx="34">
                  <c:v>0.69</c:v>
                </c:pt>
                <c:pt idx="35">
                  <c:v>0.69</c:v>
                </c:pt>
                <c:pt idx="36">
                  <c:v>0.69</c:v>
                </c:pt>
                <c:pt idx="37">
                  <c:v>0.69</c:v>
                </c:pt>
                <c:pt idx="38">
                  <c:v>0.69</c:v>
                </c:pt>
                <c:pt idx="39">
                  <c:v>0.69</c:v>
                </c:pt>
                <c:pt idx="40">
                  <c:v>0.69</c:v>
                </c:pt>
                <c:pt idx="41">
                  <c:v>0.69</c:v>
                </c:pt>
                <c:pt idx="42">
                  <c:v>0.69</c:v>
                </c:pt>
                <c:pt idx="43">
                  <c:v>0.69</c:v>
                </c:pt>
                <c:pt idx="44">
                  <c:v>0.69</c:v>
                </c:pt>
                <c:pt idx="45">
                  <c:v>0.69</c:v>
                </c:pt>
                <c:pt idx="46">
                  <c:v>0.69</c:v>
                </c:pt>
                <c:pt idx="47">
                  <c:v>0.69</c:v>
                </c:pt>
                <c:pt idx="48">
                  <c:v>0.69</c:v>
                </c:pt>
                <c:pt idx="49">
                  <c:v>0.6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612A-4425-8DAE-0752072062F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19050">
              <a:solidFill>
                <a:srgbClr val="75C4FF"/>
              </a:solidFill>
            </a:ln>
          </c:spPr>
          <c:marker>
            <c:symbol val="none"/>
          </c:marker>
          <c:cat>
            <c:numRef>
              <c:f>Sheet1!$A$249:$A$298</c:f>
              <c:numCache>
                <c:formatCode>yyyy\-mm\-dd</c:formatCode>
                <c:ptCount val="50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  <c:pt idx="48" formatCode="m/d/yyyy">
                  <c:v>45998</c:v>
                </c:pt>
                <c:pt idx="49" formatCode="m/d/yyyy">
                  <c:v>46005</c:v>
                </c:pt>
              </c:numCache>
            </c:numRef>
          </c:cat>
          <c:val>
            <c:numRef>
              <c:f>Sheet1!$F$249:$F$298</c:f>
              <c:numCache>
                <c:formatCode>0.00%</c:formatCode>
                <c:ptCount val="50"/>
                <c:pt idx="0">
                  <c:v>0.36499999999999999</c:v>
                </c:pt>
                <c:pt idx="1">
                  <c:v>0.36499999999999999</c:v>
                </c:pt>
                <c:pt idx="2">
                  <c:v>0.36499999999999999</c:v>
                </c:pt>
                <c:pt idx="3">
                  <c:v>0.36499999999999999</c:v>
                </c:pt>
                <c:pt idx="4">
                  <c:v>0.36499999999999999</c:v>
                </c:pt>
                <c:pt idx="5">
                  <c:v>0.36499999999999999</c:v>
                </c:pt>
                <c:pt idx="6">
                  <c:v>0.36499999999999999</c:v>
                </c:pt>
                <c:pt idx="7">
                  <c:v>0.36499999999999999</c:v>
                </c:pt>
                <c:pt idx="8">
                  <c:v>0.36499999999999999</c:v>
                </c:pt>
                <c:pt idx="9">
                  <c:v>0.36499999999999999</c:v>
                </c:pt>
                <c:pt idx="10">
                  <c:v>0.36499999999999999</c:v>
                </c:pt>
                <c:pt idx="11">
                  <c:v>0.36499999999999999</c:v>
                </c:pt>
                <c:pt idx="12">
                  <c:v>0.36499999999999999</c:v>
                </c:pt>
                <c:pt idx="13">
                  <c:v>0.36499999999999999</c:v>
                </c:pt>
                <c:pt idx="14">
                  <c:v>0.36499999999999999</c:v>
                </c:pt>
                <c:pt idx="15">
                  <c:v>0.36499999999999999</c:v>
                </c:pt>
                <c:pt idx="16">
                  <c:v>0.36499999999999999</c:v>
                </c:pt>
                <c:pt idx="17">
                  <c:v>0.36499999999999999</c:v>
                </c:pt>
                <c:pt idx="18">
                  <c:v>0.36499999999999999</c:v>
                </c:pt>
                <c:pt idx="19">
                  <c:v>0.36499999999999999</c:v>
                </c:pt>
                <c:pt idx="20">
                  <c:v>0.36499999999999999</c:v>
                </c:pt>
                <c:pt idx="21">
                  <c:v>0.36499999999999999</c:v>
                </c:pt>
                <c:pt idx="22">
                  <c:v>0.36499999999999999</c:v>
                </c:pt>
                <c:pt idx="23">
                  <c:v>0.36499999999999999</c:v>
                </c:pt>
                <c:pt idx="24">
                  <c:v>0.36499999999999999</c:v>
                </c:pt>
                <c:pt idx="25">
                  <c:v>0.36499999999999999</c:v>
                </c:pt>
                <c:pt idx="26">
                  <c:v>0.36499999999999999</c:v>
                </c:pt>
                <c:pt idx="27">
                  <c:v>0.36499999999999999</c:v>
                </c:pt>
                <c:pt idx="28">
                  <c:v>0.36499999999999999</c:v>
                </c:pt>
                <c:pt idx="29">
                  <c:v>0.36499999999999999</c:v>
                </c:pt>
                <c:pt idx="30">
                  <c:v>0.36499999999999999</c:v>
                </c:pt>
                <c:pt idx="31">
                  <c:v>0.36499999999999999</c:v>
                </c:pt>
                <c:pt idx="32">
                  <c:v>0.36499999999999999</c:v>
                </c:pt>
                <c:pt idx="33">
                  <c:v>0.36499999999999999</c:v>
                </c:pt>
                <c:pt idx="34">
                  <c:v>0.36499999999999999</c:v>
                </c:pt>
                <c:pt idx="35">
                  <c:v>0.36499999999999999</c:v>
                </c:pt>
                <c:pt idx="36">
                  <c:v>0.36499999999999999</c:v>
                </c:pt>
                <c:pt idx="37">
                  <c:v>0.36499999999999999</c:v>
                </c:pt>
                <c:pt idx="38">
                  <c:v>0.36499999999999999</c:v>
                </c:pt>
                <c:pt idx="39">
                  <c:v>0.36499999999999999</c:v>
                </c:pt>
                <c:pt idx="40">
                  <c:v>0.36499999999999999</c:v>
                </c:pt>
                <c:pt idx="41">
                  <c:v>0.36499999999999999</c:v>
                </c:pt>
                <c:pt idx="42">
                  <c:v>0.36499999999999999</c:v>
                </c:pt>
                <c:pt idx="43">
                  <c:v>0.36499999999999999</c:v>
                </c:pt>
                <c:pt idx="44">
                  <c:v>0.36499999999999999</c:v>
                </c:pt>
                <c:pt idx="45">
                  <c:v>0.36499999999999999</c:v>
                </c:pt>
                <c:pt idx="46">
                  <c:v>0.36499999999999999</c:v>
                </c:pt>
                <c:pt idx="47">
                  <c:v>0.36499999999999999</c:v>
                </c:pt>
                <c:pt idx="48">
                  <c:v>0.36499999999999999</c:v>
                </c:pt>
                <c:pt idx="49">
                  <c:v>0.3649999999999999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612A-4425-8DAE-0752072062F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19050">
              <a:solidFill>
                <a:srgbClr val="878787"/>
              </a:solidFill>
            </a:ln>
          </c:spPr>
          <c:marker>
            <c:symbol val="none"/>
          </c:marker>
          <c:cat>
            <c:numRef>
              <c:f>Sheet1!$A$249:$A$298</c:f>
              <c:numCache>
                <c:formatCode>yyyy\-mm\-dd</c:formatCode>
                <c:ptCount val="50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  <c:pt idx="48" formatCode="m/d/yyyy">
                  <c:v>45998</c:v>
                </c:pt>
                <c:pt idx="49" formatCode="m/d/yyyy">
                  <c:v>46005</c:v>
                </c:pt>
              </c:numCache>
            </c:numRef>
          </c:cat>
          <c:val>
            <c:numRef>
              <c:f>Sheet1!$G$249:$G$298</c:f>
              <c:numCache>
                <c:formatCode>0%</c:formatCode>
                <c:ptCount val="50"/>
                <c:pt idx="0">
                  <c:v>0.2</c:v>
                </c:pt>
                <c:pt idx="1">
                  <c:v>0.2</c:v>
                </c:pt>
                <c:pt idx="2">
                  <c:v>0.2</c:v>
                </c:pt>
                <c:pt idx="3">
                  <c:v>0.2</c:v>
                </c:pt>
                <c:pt idx="4">
                  <c:v>0.2</c:v>
                </c:pt>
                <c:pt idx="5">
                  <c:v>0.2</c:v>
                </c:pt>
                <c:pt idx="6">
                  <c:v>0.2</c:v>
                </c:pt>
                <c:pt idx="7">
                  <c:v>0.2</c:v>
                </c:pt>
                <c:pt idx="8">
                  <c:v>0.2</c:v>
                </c:pt>
                <c:pt idx="9">
                  <c:v>0.2</c:v>
                </c:pt>
                <c:pt idx="10">
                  <c:v>0.2</c:v>
                </c:pt>
                <c:pt idx="11">
                  <c:v>0.2</c:v>
                </c:pt>
                <c:pt idx="12">
                  <c:v>0.2</c:v>
                </c:pt>
                <c:pt idx="13">
                  <c:v>0.2</c:v>
                </c:pt>
                <c:pt idx="14">
                  <c:v>0.2</c:v>
                </c:pt>
                <c:pt idx="15">
                  <c:v>0.2</c:v>
                </c:pt>
                <c:pt idx="16">
                  <c:v>0.2</c:v>
                </c:pt>
                <c:pt idx="17">
                  <c:v>0.2</c:v>
                </c:pt>
                <c:pt idx="18">
                  <c:v>0.2</c:v>
                </c:pt>
                <c:pt idx="19">
                  <c:v>0.2</c:v>
                </c:pt>
                <c:pt idx="20">
                  <c:v>0.2</c:v>
                </c:pt>
                <c:pt idx="21">
                  <c:v>0.2</c:v>
                </c:pt>
                <c:pt idx="22">
                  <c:v>0.2</c:v>
                </c:pt>
                <c:pt idx="23">
                  <c:v>0.2</c:v>
                </c:pt>
                <c:pt idx="24">
                  <c:v>0.2</c:v>
                </c:pt>
                <c:pt idx="25">
                  <c:v>0.2</c:v>
                </c:pt>
                <c:pt idx="26">
                  <c:v>0.2</c:v>
                </c:pt>
                <c:pt idx="27">
                  <c:v>0.2</c:v>
                </c:pt>
                <c:pt idx="28">
                  <c:v>0.2</c:v>
                </c:pt>
                <c:pt idx="29">
                  <c:v>0.2</c:v>
                </c:pt>
                <c:pt idx="30">
                  <c:v>0.2</c:v>
                </c:pt>
                <c:pt idx="31">
                  <c:v>0.2</c:v>
                </c:pt>
                <c:pt idx="32">
                  <c:v>0.2</c:v>
                </c:pt>
                <c:pt idx="33">
                  <c:v>0.2</c:v>
                </c:pt>
                <c:pt idx="34">
                  <c:v>0.2</c:v>
                </c:pt>
                <c:pt idx="35">
                  <c:v>0.2</c:v>
                </c:pt>
                <c:pt idx="36">
                  <c:v>0.2</c:v>
                </c:pt>
                <c:pt idx="37">
                  <c:v>0.2</c:v>
                </c:pt>
                <c:pt idx="38">
                  <c:v>0.2</c:v>
                </c:pt>
                <c:pt idx="39">
                  <c:v>0.2</c:v>
                </c:pt>
                <c:pt idx="40">
                  <c:v>0.2</c:v>
                </c:pt>
                <c:pt idx="41">
                  <c:v>0.2</c:v>
                </c:pt>
                <c:pt idx="42">
                  <c:v>0.2</c:v>
                </c:pt>
                <c:pt idx="43">
                  <c:v>0.2</c:v>
                </c:pt>
                <c:pt idx="44">
                  <c:v>0.2</c:v>
                </c:pt>
                <c:pt idx="45">
                  <c:v>0.2</c:v>
                </c:pt>
                <c:pt idx="46">
                  <c:v>0.2</c:v>
                </c:pt>
                <c:pt idx="47">
                  <c:v>0.2</c:v>
                </c:pt>
                <c:pt idx="48">
                  <c:v>0.2</c:v>
                </c:pt>
                <c:pt idx="49">
                  <c:v>0.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B-612A-4425-8DAE-0752072062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64812704"/>
        <c:axId val="-164802912"/>
      </c:lineChart>
      <c:dateAx>
        <c:axId val="-164812704"/>
        <c:scaling>
          <c:orientation val="minMax"/>
        </c:scaling>
        <c:delete val="0"/>
        <c:axPos val="b"/>
        <c:numFmt formatCode="yyyy\-mm\-dd" sourceLinked="1"/>
        <c:majorTickMark val="out"/>
        <c:minorTickMark val="none"/>
        <c:tickLblPos val="nextTo"/>
        <c:spPr>
          <a:noFill/>
          <a:ln w="6350">
            <a:solidFill>
              <a:sysClr val="windowText" lastClr="000000">
                <a:lumMod val="10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rgbClr val="000000"/>
                </a:solidFill>
                <a:latin typeface="仿宋_GB2312"/>
                <a:ea typeface="仿宋_GB2312"/>
                <a:cs typeface="仿宋_GB2312"/>
              </a:defRPr>
            </a:pPr>
            <a:endParaRPr lang="zh-CN"/>
          </a:p>
        </c:txPr>
        <c:crossAx val="-164802912"/>
        <c:crosses val="autoZero"/>
        <c:auto val="1"/>
        <c:lblOffset val="100"/>
        <c:baseTimeUnit val="days"/>
      </c:dateAx>
      <c:valAx>
        <c:axId val="-164802912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6350">
            <a:solidFill>
              <a:sysClr val="windowText" lastClr="000000">
                <a:lumMod val="10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rgbClr val="000000"/>
                </a:solidFill>
                <a:latin typeface="仿宋_GB2312"/>
                <a:ea typeface="仿宋_GB2312"/>
                <a:cs typeface="仿宋_GB2312"/>
              </a:defRPr>
            </a:pPr>
            <a:endParaRPr lang="zh-CN"/>
          </a:p>
        </c:txPr>
        <c:crossAx val="-164812704"/>
        <c:crosses val="autoZero"/>
        <c:crossBetween val="between"/>
      </c:valAx>
      <c:spPr>
        <a:noFill/>
        <a:ln w="25400"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ln w="25400">
          <a:noFill/>
        </a:ln>
      </c:spPr>
      <c:txPr>
        <a:bodyPr/>
        <a:lstStyle/>
        <a:p>
          <a:pPr>
            <a:defRPr sz="800" baseline="0">
              <a:solidFill>
                <a:srgbClr val="000000"/>
              </a:solidFill>
              <a:latin typeface="仿宋_GB2312" panose="02010609030101010101" pitchFamily="49" charset="-122"/>
              <a:ea typeface="仿宋_GB2312" panose="02010609030101010101" pitchFamily="49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800">
          <a:latin typeface="仿宋_GB2312"/>
          <a:ea typeface="仿宋_GB2312"/>
          <a:cs typeface="仿宋_GB2312"/>
        </a:defRPr>
      </a:pPr>
      <a:endParaRPr lang="zh-C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b="1"/>
              <a:t>股票择时模型</a:t>
            </a:r>
            <a:r>
              <a:rPr lang="zh-CN" altLang="en-US" b="1" baseline="0"/>
              <a:t>六维度底层指标   所处历史分位数</a:t>
            </a:r>
            <a:endParaRPr lang="zh-CN" altLang="en-US" b="1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7.1843091206336168E-2"/>
          <c:y val="0.19927539074452111"/>
          <c:w val="0.91783630589562093"/>
          <c:h val="0.50508239690333645"/>
        </c:manualLayout>
      </c:layout>
      <c:lineChart>
        <c:grouping val="standard"/>
        <c:varyColors val="0"/>
        <c:ser>
          <c:idx val="5"/>
          <c:order val="0"/>
          <c:tx>
            <c:strRef>
              <c:f>股票择时信号!$AA$7</c:f>
              <c:strCache>
                <c:ptCount val="1"/>
                <c:pt idx="0">
                  <c:v>r007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7</c:f>
              <c:numCache>
                <c:formatCode>yyyy\-mm\-dd</c:formatCode>
                <c:ptCount val="297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  <c:pt idx="295">
                  <c:v>45998</c:v>
                </c:pt>
                <c:pt idx="296">
                  <c:v>46005</c:v>
                </c:pt>
              </c:numCache>
            </c:numRef>
          </c:cat>
          <c:val>
            <c:numRef>
              <c:f>股票择时信号!$AA$11:$AA$307</c:f>
              <c:numCache>
                <c:formatCode>0.0%</c:formatCode>
                <c:ptCount val="29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.5</c:v>
                </c:pt>
                <c:pt idx="5">
                  <c:v>0</c:v>
                </c:pt>
                <c:pt idx="6">
                  <c:v>0.66600000000000004</c:v>
                </c:pt>
                <c:pt idx="7">
                  <c:v>1</c:v>
                </c:pt>
                <c:pt idx="8">
                  <c:v>0.875</c:v>
                </c:pt>
                <c:pt idx="9">
                  <c:v>0.88800000000000001</c:v>
                </c:pt>
                <c:pt idx="10">
                  <c:v>0.9</c:v>
                </c:pt>
                <c:pt idx="11">
                  <c:v>0.72699999999999998</c:v>
                </c:pt>
                <c:pt idx="12">
                  <c:v>1</c:v>
                </c:pt>
                <c:pt idx="13">
                  <c:v>0.92300000000000004</c:v>
                </c:pt>
                <c:pt idx="14">
                  <c:v>0.92800000000000005</c:v>
                </c:pt>
                <c:pt idx="15">
                  <c:v>0.8</c:v>
                </c:pt>
                <c:pt idx="16">
                  <c:v>0.875</c:v>
                </c:pt>
                <c:pt idx="17">
                  <c:v>0.82299999999999995</c:v>
                </c:pt>
                <c:pt idx="18">
                  <c:v>0.66600000000000004</c:v>
                </c:pt>
                <c:pt idx="19">
                  <c:v>0.78900000000000003</c:v>
                </c:pt>
                <c:pt idx="20">
                  <c:v>0.7</c:v>
                </c:pt>
                <c:pt idx="21">
                  <c:v>0.95199999999999996</c:v>
                </c:pt>
                <c:pt idx="22">
                  <c:v>0.45400000000000001</c:v>
                </c:pt>
                <c:pt idx="23">
                  <c:v>0.95599999999999996</c:v>
                </c:pt>
                <c:pt idx="24">
                  <c:v>0.625</c:v>
                </c:pt>
                <c:pt idx="25">
                  <c:v>0.96</c:v>
                </c:pt>
                <c:pt idx="26">
                  <c:v>0.61499999999999999</c:v>
                </c:pt>
                <c:pt idx="27">
                  <c:v>0.629</c:v>
                </c:pt>
                <c:pt idx="28">
                  <c:v>0.78500000000000003</c:v>
                </c:pt>
                <c:pt idx="29">
                  <c:v>1</c:v>
                </c:pt>
                <c:pt idx="30">
                  <c:v>0.433</c:v>
                </c:pt>
                <c:pt idx="31">
                  <c:v>0.96699999999999997</c:v>
                </c:pt>
                <c:pt idx="32">
                  <c:v>0.56200000000000006</c:v>
                </c:pt>
                <c:pt idx="33">
                  <c:v>0.33300000000000002</c:v>
                </c:pt>
                <c:pt idx="34">
                  <c:v>0.441</c:v>
                </c:pt>
                <c:pt idx="35">
                  <c:v>1</c:v>
                </c:pt>
                <c:pt idx="36">
                  <c:v>1</c:v>
                </c:pt>
                <c:pt idx="37">
                  <c:v>0.97199999999999998</c:v>
                </c:pt>
                <c:pt idx="38">
                  <c:v>0.23599999999999999</c:v>
                </c:pt>
                <c:pt idx="39">
                  <c:v>0.25600000000000001</c:v>
                </c:pt>
                <c:pt idx="40">
                  <c:v>0.8</c:v>
                </c:pt>
                <c:pt idx="41">
                  <c:v>0.80400000000000005</c:v>
                </c:pt>
                <c:pt idx="42">
                  <c:v>0.95199999999999996</c:v>
                </c:pt>
                <c:pt idx="43">
                  <c:v>0.72</c:v>
                </c:pt>
                <c:pt idx="44">
                  <c:v>0.36299999999999999</c:v>
                </c:pt>
                <c:pt idx="45">
                  <c:v>0.35499999999999998</c:v>
                </c:pt>
                <c:pt idx="46">
                  <c:v>0.63</c:v>
                </c:pt>
                <c:pt idx="47">
                  <c:v>0.59499999999999997</c:v>
                </c:pt>
                <c:pt idx="48">
                  <c:v>0.14499999999999999</c:v>
                </c:pt>
                <c:pt idx="49">
                  <c:v>0.42799999999999999</c:v>
                </c:pt>
                <c:pt idx="50">
                  <c:v>0.22</c:v>
                </c:pt>
                <c:pt idx="51">
                  <c:v>0.76400000000000001</c:v>
                </c:pt>
                <c:pt idx="52">
                  <c:v>0.32600000000000001</c:v>
                </c:pt>
                <c:pt idx="53">
                  <c:v>0.26400000000000001</c:v>
                </c:pt>
                <c:pt idx="54">
                  <c:v>0.40699999999999997</c:v>
                </c:pt>
                <c:pt idx="55">
                  <c:v>0.8</c:v>
                </c:pt>
                <c:pt idx="56">
                  <c:v>0.107</c:v>
                </c:pt>
                <c:pt idx="57">
                  <c:v>0.26300000000000001</c:v>
                </c:pt>
                <c:pt idx="58">
                  <c:v>0.75800000000000001</c:v>
                </c:pt>
                <c:pt idx="59">
                  <c:v>0.67700000000000005</c:v>
                </c:pt>
                <c:pt idx="60">
                  <c:v>0.66600000000000004</c:v>
                </c:pt>
                <c:pt idx="61">
                  <c:v>0.91800000000000004</c:v>
                </c:pt>
                <c:pt idx="62">
                  <c:v>0.53200000000000003</c:v>
                </c:pt>
                <c:pt idx="63">
                  <c:v>0.36499999999999999</c:v>
                </c:pt>
                <c:pt idx="64">
                  <c:v>0.79600000000000004</c:v>
                </c:pt>
                <c:pt idx="65">
                  <c:v>0.153</c:v>
                </c:pt>
                <c:pt idx="66">
                  <c:v>0.33300000000000002</c:v>
                </c:pt>
                <c:pt idx="67">
                  <c:v>0.55200000000000005</c:v>
                </c:pt>
                <c:pt idx="68">
                  <c:v>0.76400000000000001</c:v>
                </c:pt>
                <c:pt idx="69">
                  <c:v>0.52100000000000002</c:v>
                </c:pt>
                <c:pt idx="70">
                  <c:v>0.42799999999999999</c:v>
                </c:pt>
                <c:pt idx="71">
                  <c:v>0.38</c:v>
                </c:pt>
                <c:pt idx="72">
                  <c:v>0.38800000000000001</c:v>
                </c:pt>
                <c:pt idx="73">
                  <c:v>0.32800000000000001</c:v>
                </c:pt>
                <c:pt idx="74">
                  <c:v>0.52700000000000002</c:v>
                </c:pt>
                <c:pt idx="75">
                  <c:v>0.69299999999999995</c:v>
                </c:pt>
                <c:pt idx="76">
                  <c:v>0.53900000000000003</c:v>
                </c:pt>
                <c:pt idx="77">
                  <c:v>0.71399999999999997</c:v>
                </c:pt>
                <c:pt idx="78">
                  <c:v>0.24299999999999999</c:v>
                </c:pt>
                <c:pt idx="79">
                  <c:v>0.48099999999999998</c:v>
                </c:pt>
                <c:pt idx="80">
                  <c:v>0.61199999999999999</c:v>
                </c:pt>
                <c:pt idx="81">
                  <c:v>0.23400000000000001</c:v>
                </c:pt>
                <c:pt idx="82">
                  <c:v>0.621</c:v>
                </c:pt>
                <c:pt idx="83">
                  <c:v>0.48099999999999998</c:v>
                </c:pt>
                <c:pt idx="84">
                  <c:v>0.34499999999999997</c:v>
                </c:pt>
                <c:pt idx="85">
                  <c:v>0.247</c:v>
                </c:pt>
                <c:pt idx="86">
                  <c:v>0.39500000000000002</c:v>
                </c:pt>
                <c:pt idx="87">
                  <c:v>0.31</c:v>
                </c:pt>
                <c:pt idx="88">
                  <c:v>0.55600000000000005</c:v>
                </c:pt>
                <c:pt idx="89">
                  <c:v>0.42599999999999999</c:v>
                </c:pt>
                <c:pt idx="90">
                  <c:v>0.93300000000000005</c:v>
                </c:pt>
                <c:pt idx="91">
                  <c:v>0.17499999999999999</c:v>
                </c:pt>
                <c:pt idx="92">
                  <c:v>0.61899999999999999</c:v>
                </c:pt>
                <c:pt idx="93">
                  <c:v>0.74099999999999999</c:v>
                </c:pt>
                <c:pt idx="94">
                  <c:v>0.70199999999999996</c:v>
                </c:pt>
                <c:pt idx="95">
                  <c:v>0.621</c:v>
                </c:pt>
                <c:pt idx="96">
                  <c:v>0.17699999999999999</c:v>
                </c:pt>
                <c:pt idx="97">
                  <c:v>0.154</c:v>
                </c:pt>
                <c:pt idx="98">
                  <c:v>0.82599999999999996</c:v>
                </c:pt>
                <c:pt idx="99">
                  <c:v>0.28199999999999997</c:v>
                </c:pt>
                <c:pt idx="100">
                  <c:v>0.64</c:v>
                </c:pt>
                <c:pt idx="101">
                  <c:v>0.28699999999999998</c:v>
                </c:pt>
                <c:pt idx="102">
                  <c:v>0.32300000000000001</c:v>
                </c:pt>
                <c:pt idx="103">
                  <c:v>0.504</c:v>
                </c:pt>
                <c:pt idx="104">
                  <c:v>0.17299999999999999</c:v>
                </c:pt>
                <c:pt idx="105">
                  <c:v>9.5000000000000001E-2</c:v>
                </c:pt>
                <c:pt idx="106">
                  <c:v>9.4E-2</c:v>
                </c:pt>
                <c:pt idx="107">
                  <c:v>0.10199999999999999</c:v>
                </c:pt>
                <c:pt idx="108">
                  <c:v>7.3999999999999996E-2</c:v>
                </c:pt>
                <c:pt idx="109">
                  <c:v>9.0999999999999998E-2</c:v>
                </c:pt>
                <c:pt idx="110">
                  <c:v>5.3999999999999999E-2</c:v>
                </c:pt>
                <c:pt idx="111">
                  <c:v>0.108</c:v>
                </c:pt>
                <c:pt idx="112">
                  <c:v>5.2999999999999999E-2</c:v>
                </c:pt>
                <c:pt idx="113">
                  <c:v>6.0999999999999999E-2</c:v>
                </c:pt>
                <c:pt idx="114">
                  <c:v>7.0000000000000007E-2</c:v>
                </c:pt>
                <c:pt idx="115">
                  <c:v>0.34699999999999998</c:v>
                </c:pt>
                <c:pt idx="116">
                  <c:v>0.318</c:v>
                </c:pt>
                <c:pt idx="117">
                  <c:v>3.4000000000000002E-2</c:v>
                </c:pt>
                <c:pt idx="118">
                  <c:v>2.5000000000000001E-2</c:v>
                </c:pt>
                <c:pt idx="119">
                  <c:v>4.2000000000000003E-2</c:v>
                </c:pt>
                <c:pt idx="120">
                  <c:v>0.1</c:v>
                </c:pt>
                <c:pt idx="121">
                  <c:v>5.7000000000000002E-2</c:v>
                </c:pt>
                <c:pt idx="122">
                  <c:v>1.6E-2</c:v>
                </c:pt>
                <c:pt idx="123">
                  <c:v>5.6000000000000001E-2</c:v>
                </c:pt>
                <c:pt idx="124">
                  <c:v>1.6E-2</c:v>
                </c:pt>
                <c:pt idx="125">
                  <c:v>0.08</c:v>
                </c:pt>
                <c:pt idx="126">
                  <c:v>6.3E-2</c:v>
                </c:pt>
                <c:pt idx="127">
                  <c:v>0.11</c:v>
                </c:pt>
                <c:pt idx="128">
                  <c:v>0.16400000000000001</c:v>
                </c:pt>
                <c:pt idx="129">
                  <c:v>0.27100000000000002</c:v>
                </c:pt>
                <c:pt idx="130">
                  <c:v>0.223</c:v>
                </c:pt>
                <c:pt idx="131">
                  <c:v>6.0999999999999999E-2</c:v>
                </c:pt>
                <c:pt idx="132">
                  <c:v>0.121</c:v>
                </c:pt>
                <c:pt idx="133">
                  <c:v>0.67600000000000005</c:v>
                </c:pt>
                <c:pt idx="134">
                  <c:v>0.17899999999999999</c:v>
                </c:pt>
                <c:pt idx="135">
                  <c:v>0.185</c:v>
                </c:pt>
                <c:pt idx="136">
                  <c:v>0.16900000000000001</c:v>
                </c:pt>
                <c:pt idx="137">
                  <c:v>0.379</c:v>
                </c:pt>
                <c:pt idx="138">
                  <c:v>0.46300000000000002</c:v>
                </c:pt>
                <c:pt idx="139">
                  <c:v>0.91300000000000003</c:v>
                </c:pt>
                <c:pt idx="140">
                  <c:v>0.77800000000000002</c:v>
                </c:pt>
                <c:pt idx="141">
                  <c:v>0.27600000000000002</c:v>
                </c:pt>
                <c:pt idx="142">
                  <c:v>0.96399999999999997</c:v>
                </c:pt>
                <c:pt idx="143">
                  <c:v>0.216</c:v>
                </c:pt>
                <c:pt idx="144">
                  <c:v>0.93700000000000006</c:v>
                </c:pt>
                <c:pt idx="145">
                  <c:v>0.62</c:v>
                </c:pt>
                <c:pt idx="146">
                  <c:v>0.35599999999999998</c:v>
                </c:pt>
                <c:pt idx="147">
                  <c:v>0.28499999999999998</c:v>
                </c:pt>
                <c:pt idx="148">
                  <c:v>0.73599999999999999</c:v>
                </c:pt>
                <c:pt idx="149">
                  <c:v>0.94599999999999995</c:v>
                </c:pt>
                <c:pt idx="150">
                  <c:v>0.5</c:v>
                </c:pt>
                <c:pt idx="151">
                  <c:v>0.45600000000000002</c:v>
                </c:pt>
                <c:pt idx="152">
                  <c:v>0.25600000000000001</c:v>
                </c:pt>
                <c:pt idx="153">
                  <c:v>0.72499999999999998</c:v>
                </c:pt>
                <c:pt idx="154">
                  <c:v>0.37</c:v>
                </c:pt>
                <c:pt idx="155">
                  <c:v>0.96099999999999997</c:v>
                </c:pt>
                <c:pt idx="156">
                  <c:v>0.16600000000000001</c:v>
                </c:pt>
                <c:pt idx="157">
                  <c:v>0.35</c:v>
                </c:pt>
                <c:pt idx="158">
                  <c:v>0.76500000000000001</c:v>
                </c:pt>
                <c:pt idx="159">
                  <c:v>0.71</c:v>
                </c:pt>
                <c:pt idx="160">
                  <c:v>0.25600000000000001</c:v>
                </c:pt>
                <c:pt idx="161">
                  <c:v>0.34699999999999998</c:v>
                </c:pt>
                <c:pt idx="162">
                  <c:v>0.185</c:v>
                </c:pt>
                <c:pt idx="163">
                  <c:v>0.214</c:v>
                </c:pt>
                <c:pt idx="164">
                  <c:v>0.54200000000000004</c:v>
                </c:pt>
                <c:pt idx="165">
                  <c:v>0.13300000000000001</c:v>
                </c:pt>
                <c:pt idx="166">
                  <c:v>0.27700000000000002</c:v>
                </c:pt>
                <c:pt idx="167">
                  <c:v>0.311</c:v>
                </c:pt>
                <c:pt idx="168">
                  <c:v>0.95799999999999996</c:v>
                </c:pt>
                <c:pt idx="169">
                  <c:v>0.33100000000000002</c:v>
                </c:pt>
                <c:pt idx="170">
                  <c:v>0.48799999999999999</c:v>
                </c:pt>
                <c:pt idx="171">
                  <c:v>0.28599999999999998</c:v>
                </c:pt>
                <c:pt idx="172">
                  <c:v>0.191</c:v>
                </c:pt>
                <c:pt idx="173">
                  <c:v>0.19</c:v>
                </c:pt>
                <c:pt idx="174">
                  <c:v>0.16</c:v>
                </c:pt>
                <c:pt idx="175">
                  <c:v>0.434</c:v>
                </c:pt>
                <c:pt idx="176">
                  <c:v>0.159</c:v>
                </c:pt>
                <c:pt idx="177">
                  <c:v>0.56999999999999995</c:v>
                </c:pt>
                <c:pt idx="178">
                  <c:v>0.443</c:v>
                </c:pt>
                <c:pt idx="179">
                  <c:v>0.312</c:v>
                </c:pt>
                <c:pt idx="180">
                  <c:v>0.255</c:v>
                </c:pt>
                <c:pt idx="181">
                  <c:v>0.97199999999999998</c:v>
                </c:pt>
                <c:pt idx="182">
                  <c:v>0.95599999999999996</c:v>
                </c:pt>
                <c:pt idx="183">
                  <c:v>0.49099999999999999</c:v>
                </c:pt>
                <c:pt idx="184">
                  <c:v>0.74399999999999999</c:v>
                </c:pt>
                <c:pt idx="185">
                  <c:v>0.89100000000000001</c:v>
                </c:pt>
                <c:pt idx="186">
                  <c:v>0.35399999999999998</c:v>
                </c:pt>
                <c:pt idx="187">
                  <c:v>0.29399999999999998</c:v>
                </c:pt>
                <c:pt idx="188">
                  <c:v>0.65900000000000003</c:v>
                </c:pt>
                <c:pt idx="189">
                  <c:v>0.624</c:v>
                </c:pt>
                <c:pt idx="190">
                  <c:v>0.88400000000000001</c:v>
                </c:pt>
                <c:pt idx="191">
                  <c:v>0.70599999999999996</c:v>
                </c:pt>
                <c:pt idx="192">
                  <c:v>0.68200000000000005</c:v>
                </c:pt>
                <c:pt idx="193">
                  <c:v>0.34100000000000003</c:v>
                </c:pt>
                <c:pt idx="194">
                  <c:v>0.93799999999999994</c:v>
                </c:pt>
                <c:pt idx="195">
                  <c:v>0.22</c:v>
                </c:pt>
                <c:pt idx="196">
                  <c:v>0.65300000000000002</c:v>
                </c:pt>
                <c:pt idx="197">
                  <c:v>0.65400000000000003</c:v>
                </c:pt>
                <c:pt idx="198">
                  <c:v>0.81799999999999995</c:v>
                </c:pt>
                <c:pt idx="199">
                  <c:v>0.60799999999999998</c:v>
                </c:pt>
                <c:pt idx="200">
                  <c:v>0.32</c:v>
                </c:pt>
                <c:pt idx="201">
                  <c:v>0.14899999999999999</c:v>
                </c:pt>
                <c:pt idx="202">
                  <c:v>0.20699999999999999</c:v>
                </c:pt>
                <c:pt idx="203">
                  <c:v>0.29499999999999998</c:v>
                </c:pt>
                <c:pt idx="204">
                  <c:v>0.23</c:v>
                </c:pt>
                <c:pt idx="205">
                  <c:v>0.18</c:v>
                </c:pt>
                <c:pt idx="206">
                  <c:v>0.41699999999999998</c:v>
                </c:pt>
                <c:pt idx="207">
                  <c:v>0.879</c:v>
                </c:pt>
                <c:pt idx="208">
                  <c:v>0.245</c:v>
                </c:pt>
                <c:pt idx="209">
                  <c:v>0.30099999999999999</c:v>
                </c:pt>
                <c:pt idx="210">
                  <c:v>0.504</c:v>
                </c:pt>
                <c:pt idx="211">
                  <c:v>0.27900000000000003</c:v>
                </c:pt>
                <c:pt idx="212">
                  <c:v>0.60799999999999998</c:v>
                </c:pt>
                <c:pt idx="213">
                  <c:v>0.30499999999999999</c:v>
                </c:pt>
                <c:pt idx="214">
                  <c:v>0.126</c:v>
                </c:pt>
                <c:pt idx="215">
                  <c:v>0.14399999999999999</c:v>
                </c:pt>
                <c:pt idx="216">
                  <c:v>0.189</c:v>
                </c:pt>
                <c:pt idx="217">
                  <c:v>0.17</c:v>
                </c:pt>
                <c:pt idx="218">
                  <c:v>0.13300000000000001</c:v>
                </c:pt>
                <c:pt idx="219">
                  <c:v>0.191</c:v>
                </c:pt>
                <c:pt idx="220">
                  <c:v>0.79</c:v>
                </c:pt>
                <c:pt idx="221">
                  <c:v>0.77800000000000002</c:v>
                </c:pt>
                <c:pt idx="222">
                  <c:v>0.28299999999999997</c:v>
                </c:pt>
                <c:pt idx="223">
                  <c:v>0.23300000000000001</c:v>
                </c:pt>
                <c:pt idx="224">
                  <c:v>0.32100000000000001</c:v>
                </c:pt>
                <c:pt idx="225">
                  <c:v>0.26600000000000001</c:v>
                </c:pt>
                <c:pt idx="226">
                  <c:v>0.216</c:v>
                </c:pt>
                <c:pt idx="227">
                  <c:v>0.246</c:v>
                </c:pt>
                <c:pt idx="228">
                  <c:v>0.17899999999999999</c:v>
                </c:pt>
                <c:pt idx="229">
                  <c:v>0.122</c:v>
                </c:pt>
                <c:pt idx="230">
                  <c:v>0.317</c:v>
                </c:pt>
                <c:pt idx="231">
                  <c:v>0.14699999999999999</c:v>
                </c:pt>
                <c:pt idx="232">
                  <c:v>0.185</c:v>
                </c:pt>
                <c:pt idx="233">
                  <c:v>0.35599999999999998</c:v>
                </c:pt>
                <c:pt idx="234">
                  <c:v>9.8000000000000004E-2</c:v>
                </c:pt>
                <c:pt idx="235">
                  <c:v>0.48899999999999999</c:v>
                </c:pt>
                <c:pt idx="236">
                  <c:v>7.5999999999999998E-2</c:v>
                </c:pt>
                <c:pt idx="237">
                  <c:v>0.13</c:v>
                </c:pt>
                <c:pt idx="238">
                  <c:v>0.1</c:v>
                </c:pt>
                <c:pt idx="239">
                  <c:v>0.1</c:v>
                </c:pt>
                <c:pt idx="240">
                  <c:v>0.13700000000000001</c:v>
                </c:pt>
                <c:pt idx="241">
                  <c:v>0.14499999999999999</c:v>
                </c:pt>
                <c:pt idx="242">
                  <c:v>0.24299999999999999</c:v>
                </c:pt>
                <c:pt idx="243">
                  <c:v>0.17199999999999999</c:v>
                </c:pt>
                <c:pt idx="244">
                  <c:v>0.184</c:v>
                </c:pt>
                <c:pt idx="245">
                  <c:v>0.35099999999999998</c:v>
                </c:pt>
                <c:pt idx="246">
                  <c:v>9.7000000000000003E-2</c:v>
                </c:pt>
                <c:pt idx="247">
                  <c:v>0.125</c:v>
                </c:pt>
                <c:pt idx="248">
                  <c:v>0.104</c:v>
                </c:pt>
                <c:pt idx="249">
                  <c:v>0.96299999999999997</c:v>
                </c:pt>
                <c:pt idx="250">
                  <c:v>0.72</c:v>
                </c:pt>
                <c:pt idx="251">
                  <c:v>0.26200000000000001</c:v>
                </c:pt>
                <c:pt idx="252">
                  <c:v>0.14199999999999999</c:v>
                </c:pt>
                <c:pt idx="253">
                  <c:v>0.28399999999999997</c:v>
                </c:pt>
                <c:pt idx="254">
                  <c:v>0.22800000000000001</c:v>
                </c:pt>
                <c:pt idx="255">
                  <c:v>0.67400000000000004</c:v>
                </c:pt>
                <c:pt idx="256">
                  <c:v>0.13200000000000001</c:v>
                </c:pt>
                <c:pt idx="257">
                  <c:v>9.2999999999999999E-2</c:v>
                </c:pt>
                <c:pt idx="258">
                  <c:v>9.2999999999999999E-2</c:v>
                </c:pt>
                <c:pt idx="259">
                  <c:v>0.247</c:v>
                </c:pt>
                <c:pt idx="260">
                  <c:v>0.623</c:v>
                </c:pt>
                <c:pt idx="261">
                  <c:v>0.13</c:v>
                </c:pt>
                <c:pt idx="262">
                  <c:v>0.122</c:v>
                </c:pt>
                <c:pt idx="263">
                  <c:v>9.5000000000000001E-2</c:v>
                </c:pt>
                <c:pt idx="264">
                  <c:v>0.128</c:v>
                </c:pt>
                <c:pt idx="265">
                  <c:v>7.0999999999999994E-2</c:v>
                </c:pt>
                <c:pt idx="266">
                  <c:v>2.1999999999999999E-2</c:v>
                </c:pt>
                <c:pt idx="267">
                  <c:v>5.6000000000000001E-2</c:v>
                </c:pt>
                <c:pt idx="268">
                  <c:v>3.3000000000000002E-2</c:v>
                </c:pt>
                <c:pt idx="269">
                  <c:v>4.8000000000000001E-2</c:v>
                </c:pt>
                <c:pt idx="270">
                  <c:v>2.1999999999999999E-2</c:v>
                </c:pt>
                <c:pt idx="271">
                  <c:v>3.5999999999999997E-2</c:v>
                </c:pt>
                <c:pt idx="272">
                  <c:v>0.04</c:v>
                </c:pt>
                <c:pt idx="273">
                  <c:v>2.5000000000000001E-2</c:v>
                </c:pt>
                <c:pt idx="274">
                  <c:v>0.01</c:v>
                </c:pt>
                <c:pt idx="275">
                  <c:v>0.04</c:v>
                </c:pt>
                <c:pt idx="276">
                  <c:v>0.05</c:v>
                </c:pt>
                <c:pt idx="277">
                  <c:v>0.01</c:v>
                </c:pt>
                <c:pt idx="278">
                  <c:v>3.0000000000000001E-3</c:v>
                </c:pt>
                <c:pt idx="279">
                  <c:v>3.0000000000000001E-3</c:v>
                </c:pt>
                <c:pt idx="280">
                  <c:v>3.9E-2</c:v>
                </c:pt>
                <c:pt idx="281">
                  <c:v>1.7000000000000001E-2</c:v>
                </c:pt>
                <c:pt idx="282">
                  <c:v>2.8000000000000001E-2</c:v>
                </c:pt>
                <c:pt idx="283">
                  <c:v>3.7999999999999999E-2</c:v>
                </c:pt>
                <c:pt idx="284">
                  <c:v>7.0000000000000007E-2</c:v>
                </c:pt>
                <c:pt idx="285">
                  <c:v>0.105</c:v>
                </c:pt>
                <c:pt idx="286">
                  <c:v>0.122</c:v>
                </c:pt>
                <c:pt idx="287">
                  <c:v>4.1000000000000002E-2</c:v>
                </c:pt>
                <c:pt idx="288">
                  <c:v>0.01</c:v>
                </c:pt>
                <c:pt idx="289">
                  <c:v>3.4000000000000002E-2</c:v>
                </c:pt>
                <c:pt idx="290">
                  <c:v>8.8999999999999996E-2</c:v>
                </c:pt>
                <c:pt idx="291">
                  <c:v>4.3999999999999997E-2</c:v>
                </c:pt>
                <c:pt idx="292">
                  <c:v>8.8999999999999996E-2</c:v>
                </c:pt>
                <c:pt idx="293">
                  <c:v>4.3999999999999997E-2</c:v>
                </c:pt>
                <c:pt idx="294">
                  <c:v>6.0000000000000001E-3</c:v>
                </c:pt>
                <c:pt idx="295">
                  <c:v>4.3999999999999997E-2</c:v>
                </c:pt>
                <c:pt idx="296">
                  <c:v>3.3000000000000002E-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99B5-4AC9-9ADD-3C277402B8FA}"/>
            </c:ext>
          </c:extLst>
        </c:ser>
        <c:ser>
          <c:idx val="0"/>
          <c:order val="1"/>
          <c:tx>
            <c:strRef>
              <c:f>股票择时信号!$AB$7</c:f>
              <c:strCache>
                <c:ptCount val="1"/>
                <c:pt idx="0">
                  <c:v> 过去12个月滚动新增社融增速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7</c:f>
              <c:numCache>
                <c:formatCode>yyyy\-mm\-dd</c:formatCode>
                <c:ptCount val="297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  <c:pt idx="295">
                  <c:v>45998</c:v>
                </c:pt>
                <c:pt idx="296">
                  <c:v>46005</c:v>
                </c:pt>
              </c:numCache>
            </c:numRef>
          </c:cat>
          <c:val>
            <c:numRef>
              <c:f>股票择时信号!$AB$11:$AB$307</c:f>
              <c:numCache>
                <c:formatCode>0.0%</c:formatCode>
                <c:ptCount val="29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.83299999999999996</c:v>
                </c:pt>
                <c:pt idx="7">
                  <c:v>0.71399999999999997</c:v>
                </c:pt>
                <c:pt idx="8">
                  <c:v>0.625</c:v>
                </c:pt>
                <c:pt idx="9">
                  <c:v>1</c:v>
                </c:pt>
                <c:pt idx="10">
                  <c:v>0.9</c:v>
                </c:pt>
                <c:pt idx="11">
                  <c:v>0.81799999999999995</c:v>
                </c:pt>
                <c:pt idx="12">
                  <c:v>0.75</c:v>
                </c:pt>
                <c:pt idx="13">
                  <c:v>1</c:v>
                </c:pt>
                <c:pt idx="14">
                  <c:v>0.92800000000000005</c:v>
                </c:pt>
                <c:pt idx="15">
                  <c:v>0.86599999999999999</c:v>
                </c:pt>
                <c:pt idx="16">
                  <c:v>0.81200000000000006</c:v>
                </c:pt>
                <c:pt idx="17">
                  <c:v>0.76400000000000001</c:v>
                </c:pt>
                <c:pt idx="18">
                  <c:v>1</c:v>
                </c:pt>
                <c:pt idx="19">
                  <c:v>0.94699999999999995</c:v>
                </c:pt>
                <c:pt idx="20">
                  <c:v>0.9</c:v>
                </c:pt>
                <c:pt idx="21">
                  <c:v>0.85699999999999998</c:v>
                </c:pt>
                <c:pt idx="22">
                  <c:v>1</c:v>
                </c:pt>
                <c:pt idx="23">
                  <c:v>0.95599999999999996</c:v>
                </c:pt>
                <c:pt idx="24">
                  <c:v>0.91600000000000004</c:v>
                </c:pt>
                <c:pt idx="25">
                  <c:v>0.88</c:v>
                </c:pt>
                <c:pt idx="26">
                  <c:v>0.84599999999999997</c:v>
                </c:pt>
                <c:pt idx="27">
                  <c:v>1</c:v>
                </c:pt>
                <c:pt idx="28">
                  <c:v>0.96399999999999997</c:v>
                </c:pt>
                <c:pt idx="29">
                  <c:v>0.93100000000000005</c:v>
                </c:pt>
                <c:pt idx="30">
                  <c:v>0.9</c:v>
                </c:pt>
                <c:pt idx="31">
                  <c:v>1</c:v>
                </c:pt>
                <c:pt idx="32">
                  <c:v>0.96799999999999997</c:v>
                </c:pt>
                <c:pt idx="33">
                  <c:v>0.93899999999999995</c:v>
                </c:pt>
                <c:pt idx="34">
                  <c:v>0.91100000000000003</c:v>
                </c:pt>
                <c:pt idx="35">
                  <c:v>0.88500000000000001</c:v>
                </c:pt>
                <c:pt idx="36">
                  <c:v>0.86099999999999999</c:v>
                </c:pt>
                <c:pt idx="37">
                  <c:v>0.83699999999999997</c:v>
                </c:pt>
                <c:pt idx="38">
                  <c:v>0.81499999999999995</c:v>
                </c:pt>
                <c:pt idx="39">
                  <c:v>0.79400000000000004</c:v>
                </c:pt>
                <c:pt idx="40">
                  <c:v>0.55000000000000004</c:v>
                </c:pt>
                <c:pt idx="41">
                  <c:v>0.53600000000000003</c:v>
                </c:pt>
                <c:pt idx="42">
                  <c:v>0.52300000000000002</c:v>
                </c:pt>
                <c:pt idx="43">
                  <c:v>0.51100000000000001</c:v>
                </c:pt>
                <c:pt idx="44">
                  <c:v>0.5</c:v>
                </c:pt>
                <c:pt idx="45">
                  <c:v>0.48799999999999999</c:v>
                </c:pt>
                <c:pt idx="46">
                  <c:v>0.47799999999999998</c:v>
                </c:pt>
                <c:pt idx="47">
                  <c:v>0.46800000000000003</c:v>
                </c:pt>
                <c:pt idx="48">
                  <c:v>0.54100000000000004</c:v>
                </c:pt>
                <c:pt idx="49">
                  <c:v>0.53</c:v>
                </c:pt>
                <c:pt idx="50">
                  <c:v>0.52</c:v>
                </c:pt>
                <c:pt idx="51">
                  <c:v>0.50900000000000001</c:v>
                </c:pt>
                <c:pt idx="52">
                  <c:v>0.5</c:v>
                </c:pt>
                <c:pt idx="53">
                  <c:v>9.4E-2</c:v>
                </c:pt>
                <c:pt idx="54">
                  <c:v>9.1999999999999998E-2</c:v>
                </c:pt>
                <c:pt idx="55">
                  <c:v>0.09</c:v>
                </c:pt>
                <c:pt idx="56">
                  <c:v>8.8999999999999996E-2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9.0999999999999998E-2</c:v>
                </c:pt>
                <c:pt idx="88">
                  <c:v>0.09</c:v>
                </c:pt>
                <c:pt idx="89">
                  <c:v>8.8999999999999996E-2</c:v>
                </c:pt>
                <c:pt idx="90">
                  <c:v>8.7999999999999995E-2</c:v>
                </c:pt>
                <c:pt idx="91">
                  <c:v>8.6999999999999994E-2</c:v>
                </c:pt>
                <c:pt idx="92">
                  <c:v>0.19500000000000001</c:v>
                </c:pt>
                <c:pt idx="93">
                  <c:v>0.193</c:v>
                </c:pt>
                <c:pt idx="94">
                  <c:v>0.191</c:v>
                </c:pt>
                <c:pt idx="95">
                  <c:v>0.189</c:v>
                </c:pt>
                <c:pt idx="96">
                  <c:v>0.22900000000000001</c:v>
                </c:pt>
                <c:pt idx="97">
                  <c:v>0.22600000000000001</c:v>
                </c:pt>
                <c:pt idx="98">
                  <c:v>0.224</c:v>
                </c:pt>
                <c:pt idx="99">
                  <c:v>0.222</c:v>
                </c:pt>
                <c:pt idx="100">
                  <c:v>0.13</c:v>
                </c:pt>
                <c:pt idx="101">
                  <c:v>0.128</c:v>
                </c:pt>
                <c:pt idx="102">
                  <c:v>0.127</c:v>
                </c:pt>
                <c:pt idx="103">
                  <c:v>0.126</c:v>
                </c:pt>
                <c:pt idx="104">
                  <c:v>0.125</c:v>
                </c:pt>
                <c:pt idx="105">
                  <c:v>0.33300000000000002</c:v>
                </c:pt>
                <c:pt idx="106">
                  <c:v>0.33</c:v>
                </c:pt>
                <c:pt idx="107">
                  <c:v>0.32700000000000001</c:v>
                </c:pt>
                <c:pt idx="108">
                  <c:v>0.32400000000000001</c:v>
                </c:pt>
                <c:pt idx="109">
                  <c:v>0.40300000000000002</c:v>
                </c:pt>
                <c:pt idx="110">
                  <c:v>0.4</c:v>
                </c:pt>
                <c:pt idx="111">
                  <c:v>0.39600000000000002</c:v>
                </c:pt>
                <c:pt idx="112">
                  <c:v>0.39200000000000002</c:v>
                </c:pt>
                <c:pt idx="113">
                  <c:v>0.46</c:v>
                </c:pt>
                <c:pt idx="114">
                  <c:v>0.45600000000000002</c:v>
                </c:pt>
                <c:pt idx="115">
                  <c:v>0.45200000000000001</c:v>
                </c:pt>
                <c:pt idx="116">
                  <c:v>0.44800000000000001</c:v>
                </c:pt>
                <c:pt idx="117">
                  <c:v>0.44400000000000001</c:v>
                </c:pt>
                <c:pt idx="118">
                  <c:v>0.48299999999999998</c:v>
                </c:pt>
                <c:pt idx="119">
                  <c:v>0.47799999999999998</c:v>
                </c:pt>
                <c:pt idx="120">
                  <c:v>0.47499999999999998</c:v>
                </c:pt>
                <c:pt idx="121">
                  <c:v>0.47099999999999997</c:v>
                </c:pt>
                <c:pt idx="122">
                  <c:v>0.53200000000000003</c:v>
                </c:pt>
                <c:pt idx="123">
                  <c:v>0.52800000000000002</c:v>
                </c:pt>
                <c:pt idx="124">
                  <c:v>0.52400000000000002</c:v>
                </c:pt>
                <c:pt idx="125">
                  <c:v>0.52</c:v>
                </c:pt>
                <c:pt idx="126">
                  <c:v>0.54700000000000004</c:v>
                </c:pt>
                <c:pt idx="127">
                  <c:v>0.54300000000000004</c:v>
                </c:pt>
                <c:pt idx="128">
                  <c:v>0.53900000000000003</c:v>
                </c:pt>
                <c:pt idx="129">
                  <c:v>0.53400000000000003</c:v>
                </c:pt>
                <c:pt idx="130">
                  <c:v>0.53</c:v>
                </c:pt>
                <c:pt idx="131">
                  <c:v>0.60299999999999998</c:v>
                </c:pt>
                <c:pt idx="132">
                  <c:v>0.59799999999999998</c:v>
                </c:pt>
                <c:pt idx="133">
                  <c:v>0.59299999999999997</c:v>
                </c:pt>
                <c:pt idx="134">
                  <c:v>0.58899999999999997</c:v>
                </c:pt>
                <c:pt idx="135">
                  <c:v>0.54800000000000004</c:v>
                </c:pt>
                <c:pt idx="136">
                  <c:v>0.54400000000000004</c:v>
                </c:pt>
                <c:pt idx="137">
                  <c:v>0.54</c:v>
                </c:pt>
                <c:pt idx="138">
                  <c:v>0.53600000000000003</c:v>
                </c:pt>
                <c:pt idx="139">
                  <c:v>0.53200000000000003</c:v>
                </c:pt>
                <c:pt idx="140">
                  <c:v>0.435</c:v>
                </c:pt>
                <c:pt idx="141">
                  <c:v>0.432</c:v>
                </c:pt>
                <c:pt idx="142">
                  <c:v>0.42899999999999999</c:v>
                </c:pt>
                <c:pt idx="143">
                  <c:v>0.42599999999999999</c:v>
                </c:pt>
                <c:pt idx="144">
                  <c:v>0.36099999999999999</c:v>
                </c:pt>
                <c:pt idx="145">
                  <c:v>0.35799999999999998</c:v>
                </c:pt>
                <c:pt idx="146">
                  <c:v>0.35599999999999998</c:v>
                </c:pt>
                <c:pt idx="147">
                  <c:v>0.35299999999999998</c:v>
                </c:pt>
                <c:pt idx="148">
                  <c:v>0.32400000000000001</c:v>
                </c:pt>
                <c:pt idx="149">
                  <c:v>0.32200000000000001</c:v>
                </c:pt>
                <c:pt idx="150">
                  <c:v>0.32</c:v>
                </c:pt>
                <c:pt idx="151">
                  <c:v>0.317</c:v>
                </c:pt>
                <c:pt idx="152">
                  <c:v>0.42699999999999999</c:v>
                </c:pt>
                <c:pt idx="153">
                  <c:v>0.42399999999999999</c:v>
                </c:pt>
                <c:pt idx="154">
                  <c:v>0.42199999999999999</c:v>
                </c:pt>
                <c:pt idx="155">
                  <c:v>0.41899999999999998</c:v>
                </c:pt>
                <c:pt idx="156">
                  <c:v>0.41599999999999998</c:v>
                </c:pt>
                <c:pt idx="157">
                  <c:v>0.38200000000000001</c:v>
                </c:pt>
                <c:pt idx="158">
                  <c:v>0.379</c:v>
                </c:pt>
                <c:pt idx="159">
                  <c:v>0.377</c:v>
                </c:pt>
                <c:pt idx="160">
                  <c:v>0.375</c:v>
                </c:pt>
                <c:pt idx="161">
                  <c:v>0.45900000000000002</c:v>
                </c:pt>
                <c:pt idx="162">
                  <c:v>0.45600000000000002</c:v>
                </c:pt>
                <c:pt idx="163">
                  <c:v>0.45300000000000001</c:v>
                </c:pt>
                <c:pt idx="164">
                  <c:v>0.45100000000000001</c:v>
                </c:pt>
                <c:pt idx="165">
                  <c:v>0.44800000000000001</c:v>
                </c:pt>
                <c:pt idx="166">
                  <c:v>0.33700000000000002</c:v>
                </c:pt>
                <c:pt idx="167">
                  <c:v>0.33500000000000002</c:v>
                </c:pt>
                <c:pt idx="168">
                  <c:v>0.33300000000000002</c:v>
                </c:pt>
                <c:pt idx="169">
                  <c:v>0.33100000000000002</c:v>
                </c:pt>
                <c:pt idx="170">
                  <c:v>0.182</c:v>
                </c:pt>
                <c:pt idx="171">
                  <c:v>0.18099999999999999</c:v>
                </c:pt>
                <c:pt idx="172">
                  <c:v>0.18</c:v>
                </c:pt>
                <c:pt idx="173">
                  <c:v>0.17899999999999999</c:v>
                </c:pt>
                <c:pt idx="174">
                  <c:v>0.17799999999999999</c:v>
                </c:pt>
                <c:pt idx="175">
                  <c:v>0.17699999999999999</c:v>
                </c:pt>
                <c:pt idx="176">
                  <c:v>0.17599999999999999</c:v>
                </c:pt>
                <c:pt idx="177">
                  <c:v>0.17499999999999999</c:v>
                </c:pt>
                <c:pt idx="178">
                  <c:v>0.17399999999999999</c:v>
                </c:pt>
                <c:pt idx="179">
                  <c:v>0.245</c:v>
                </c:pt>
                <c:pt idx="180">
                  <c:v>0.24399999999999999</c:v>
                </c:pt>
                <c:pt idx="181">
                  <c:v>0.24299999999999999</c:v>
                </c:pt>
                <c:pt idx="182">
                  <c:v>0.24099999999999999</c:v>
                </c:pt>
                <c:pt idx="183">
                  <c:v>0.24</c:v>
                </c:pt>
                <c:pt idx="184">
                  <c:v>0.23899999999999999</c:v>
                </c:pt>
                <c:pt idx="185">
                  <c:v>0.23699999999999999</c:v>
                </c:pt>
                <c:pt idx="186">
                  <c:v>0.23599999999999999</c:v>
                </c:pt>
                <c:pt idx="187">
                  <c:v>0.23499999999999999</c:v>
                </c:pt>
                <c:pt idx="188">
                  <c:v>0.39300000000000002</c:v>
                </c:pt>
                <c:pt idx="189">
                  <c:v>0.39100000000000001</c:v>
                </c:pt>
                <c:pt idx="190">
                  <c:v>0.38900000000000001</c:v>
                </c:pt>
                <c:pt idx="191">
                  <c:v>0.38700000000000001</c:v>
                </c:pt>
                <c:pt idx="192">
                  <c:v>0.44700000000000001</c:v>
                </c:pt>
                <c:pt idx="193">
                  <c:v>0.44500000000000001</c:v>
                </c:pt>
                <c:pt idx="194">
                  <c:v>0.443</c:v>
                </c:pt>
                <c:pt idx="195">
                  <c:v>0.441</c:v>
                </c:pt>
                <c:pt idx="196">
                  <c:v>0.55600000000000005</c:v>
                </c:pt>
                <c:pt idx="197">
                  <c:v>0.55300000000000005</c:v>
                </c:pt>
                <c:pt idx="198">
                  <c:v>0.55000000000000004</c:v>
                </c:pt>
                <c:pt idx="199">
                  <c:v>0.54700000000000004</c:v>
                </c:pt>
                <c:pt idx="200">
                  <c:v>0.625</c:v>
                </c:pt>
                <c:pt idx="201">
                  <c:v>0.621</c:v>
                </c:pt>
                <c:pt idx="202">
                  <c:v>0.61799999999999999</c:v>
                </c:pt>
                <c:pt idx="203">
                  <c:v>0.61499999999999999</c:v>
                </c:pt>
                <c:pt idx="204">
                  <c:v>0.61199999999999999</c:v>
                </c:pt>
                <c:pt idx="205">
                  <c:v>0.38</c:v>
                </c:pt>
                <c:pt idx="206">
                  <c:v>0.378</c:v>
                </c:pt>
                <c:pt idx="207">
                  <c:v>0.376</c:v>
                </c:pt>
                <c:pt idx="208">
                  <c:v>0.375</c:v>
                </c:pt>
                <c:pt idx="209">
                  <c:v>0.253</c:v>
                </c:pt>
                <c:pt idx="210">
                  <c:v>0.252</c:v>
                </c:pt>
                <c:pt idx="211">
                  <c:v>0.251</c:v>
                </c:pt>
                <c:pt idx="212">
                  <c:v>0.25</c:v>
                </c:pt>
                <c:pt idx="213">
                  <c:v>0.14499999999999999</c:v>
                </c:pt>
                <c:pt idx="214">
                  <c:v>0.14399999999999999</c:v>
                </c:pt>
                <c:pt idx="215">
                  <c:v>0.14399999999999999</c:v>
                </c:pt>
                <c:pt idx="216">
                  <c:v>0.14299999999999999</c:v>
                </c:pt>
                <c:pt idx="217">
                  <c:v>0.14199999999999999</c:v>
                </c:pt>
                <c:pt idx="218">
                  <c:v>0.30199999999999999</c:v>
                </c:pt>
                <c:pt idx="219">
                  <c:v>0.30099999999999999</c:v>
                </c:pt>
                <c:pt idx="220">
                  <c:v>0.3</c:v>
                </c:pt>
                <c:pt idx="221">
                  <c:v>0.29799999999999999</c:v>
                </c:pt>
                <c:pt idx="222">
                  <c:v>0.35499999999999998</c:v>
                </c:pt>
                <c:pt idx="223">
                  <c:v>0.35399999999999998</c:v>
                </c:pt>
                <c:pt idx="224">
                  <c:v>0.35199999999999998</c:v>
                </c:pt>
                <c:pt idx="225">
                  <c:v>0.35099999999999998</c:v>
                </c:pt>
                <c:pt idx="226">
                  <c:v>0.34899999999999998</c:v>
                </c:pt>
                <c:pt idx="227">
                  <c:v>0.45800000000000002</c:v>
                </c:pt>
                <c:pt idx="228">
                  <c:v>0.45600000000000002</c:v>
                </c:pt>
                <c:pt idx="229">
                  <c:v>0.45400000000000001</c:v>
                </c:pt>
                <c:pt idx="230">
                  <c:v>0.45200000000000001</c:v>
                </c:pt>
                <c:pt idx="231">
                  <c:v>0.34100000000000003</c:v>
                </c:pt>
                <c:pt idx="232">
                  <c:v>0.34</c:v>
                </c:pt>
                <c:pt idx="233">
                  <c:v>0.33900000000000002</c:v>
                </c:pt>
                <c:pt idx="234">
                  <c:v>0.33700000000000002</c:v>
                </c:pt>
                <c:pt idx="235">
                  <c:v>0.33600000000000002</c:v>
                </c:pt>
                <c:pt idx="236">
                  <c:v>0.29599999999999999</c:v>
                </c:pt>
                <c:pt idx="237">
                  <c:v>0.29499999999999998</c:v>
                </c:pt>
                <c:pt idx="238">
                  <c:v>0.29399999999999998</c:v>
                </c:pt>
                <c:pt idx="239">
                  <c:v>0.29199999999999998</c:v>
                </c:pt>
                <c:pt idx="240">
                  <c:v>0.15</c:v>
                </c:pt>
                <c:pt idx="241">
                  <c:v>0.14899999999999999</c:v>
                </c:pt>
                <c:pt idx="242">
                  <c:v>0.14799999999999999</c:v>
                </c:pt>
                <c:pt idx="243">
                  <c:v>0.14799999999999999</c:v>
                </c:pt>
                <c:pt idx="244">
                  <c:v>0.11</c:v>
                </c:pt>
                <c:pt idx="245">
                  <c:v>0.11</c:v>
                </c:pt>
                <c:pt idx="246">
                  <c:v>0.109</c:v>
                </c:pt>
                <c:pt idx="247">
                  <c:v>0.109</c:v>
                </c:pt>
                <c:pt idx="248">
                  <c:v>0.108</c:v>
                </c:pt>
                <c:pt idx="249">
                  <c:v>0.2</c:v>
                </c:pt>
                <c:pt idx="250">
                  <c:v>0.2</c:v>
                </c:pt>
                <c:pt idx="251">
                  <c:v>0.19900000000000001</c:v>
                </c:pt>
                <c:pt idx="252">
                  <c:v>0.19800000000000001</c:v>
                </c:pt>
                <c:pt idx="253">
                  <c:v>0.19700000000000001</c:v>
                </c:pt>
                <c:pt idx="254">
                  <c:v>0.19600000000000001</c:v>
                </c:pt>
                <c:pt idx="255">
                  <c:v>0.19600000000000001</c:v>
                </c:pt>
                <c:pt idx="256">
                  <c:v>0.19500000000000001</c:v>
                </c:pt>
                <c:pt idx="257">
                  <c:v>0.45900000000000002</c:v>
                </c:pt>
                <c:pt idx="258">
                  <c:v>0.45700000000000002</c:v>
                </c:pt>
                <c:pt idx="259">
                  <c:v>0.45500000000000002</c:v>
                </c:pt>
                <c:pt idx="260">
                  <c:v>0.45300000000000001</c:v>
                </c:pt>
                <c:pt idx="261">
                  <c:v>0.55900000000000005</c:v>
                </c:pt>
                <c:pt idx="262">
                  <c:v>0.55700000000000005</c:v>
                </c:pt>
                <c:pt idx="263">
                  <c:v>0.55500000000000005</c:v>
                </c:pt>
                <c:pt idx="264">
                  <c:v>0.55300000000000005</c:v>
                </c:pt>
                <c:pt idx="265">
                  <c:v>0.55000000000000004</c:v>
                </c:pt>
                <c:pt idx="266">
                  <c:v>0.77</c:v>
                </c:pt>
                <c:pt idx="267">
                  <c:v>0.76700000000000002</c:v>
                </c:pt>
                <c:pt idx="268">
                  <c:v>0.76400000000000001</c:v>
                </c:pt>
                <c:pt idx="269">
                  <c:v>0.76200000000000001</c:v>
                </c:pt>
                <c:pt idx="270">
                  <c:v>0.72199999999999998</c:v>
                </c:pt>
                <c:pt idx="271">
                  <c:v>0.71899999999999997</c:v>
                </c:pt>
                <c:pt idx="272">
                  <c:v>0.71599999999999997</c:v>
                </c:pt>
                <c:pt idx="273">
                  <c:v>0.71399999999999997</c:v>
                </c:pt>
                <c:pt idx="274">
                  <c:v>0.71099999999999997</c:v>
                </c:pt>
                <c:pt idx="275">
                  <c:v>0.81</c:v>
                </c:pt>
                <c:pt idx="276">
                  <c:v>0.80700000000000005</c:v>
                </c:pt>
                <c:pt idx="277">
                  <c:v>0.80500000000000005</c:v>
                </c:pt>
                <c:pt idx="278">
                  <c:v>0.80200000000000005</c:v>
                </c:pt>
                <c:pt idx="279">
                  <c:v>0.79900000000000004</c:v>
                </c:pt>
                <c:pt idx="280">
                  <c:v>0.79600000000000004</c:v>
                </c:pt>
                <c:pt idx="281">
                  <c:v>0.79300000000000004</c:v>
                </c:pt>
                <c:pt idx="282">
                  <c:v>0.79</c:v>
                </c:pt>
                <c:pt idx="283">
                  <c:v>0.78700000000000003</c:v>
                </c:pt>
                <c:pt idx="284">
                  <c:v>0.78500000000000003</c:v>
                </c:pt>
                <c:pt idx="285">
                  <c:v>0.78200000000000003</c:v>
                </c:pt>
                <c:pt idx="286">
                  <c:v>0.77900000000000003</c:v>
                </c:pt>
                <c:pt idx="287">
                  <c:v>0.77700000000000002</c:v>
                </c:pt>
                <c:pt idx="288">
                  <c:v>0.79100000000000004</c:v>
                </c:pt>
                <c:pt idx="289">
                  <c:v>0.78800000000000003</c:v>
                </c:pt>
                <c:pt idx="290">
                  <c:v>0.78600000000000003</c:v>
                </c:pt>
                <c:pt idx="291">
                  <c:v>0.78300000000000003</c:v>
                </c:pt>
                <c:pt idx="292">
                  <c:v>0.79400000000000004</c:v>
                </c:pt>
                <c:pt idx="293">
                  <c:v>0.79100000000000004</c:v>
                </c:pt>
                <c:pt idx="294">
                  <c:v>0.78900000000000003</c:v>
                </c:pt>
                <c:pt idx="295">
                  <c:v>0.78600000000000003</c:v>
                </c:pt>
                <c:pt idx="296">
                  <c:v>0.7970000000000000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99B5-4AC9-9ADD-3C277402B8FA}"/>
            </c:ext>
          </c:extLst>
        </c:ser>
        <c:ser>
          <c:idx val="1"/>
          <c:order val="2"/>
          <c:tx>
            <c:strRef>
              <c:f>股票择时信号!$AC$7</c:f>
              <c:strCache>
                <c:ptCount val="1"/>
                <c:pt idx="0">
                  <c:v>高频经济指标的环比变化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7</c:f>
              <c:numCache>
                <c:formatCode>yyyy\-mm\-dd</c:formatCode>
                <c:ptCount val="297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  <c:pt idx="295">
                  <c:v>45998</c:v>
                </c:pt>
                <c:pt idx="296">
                  <c:v>46005</c:v>
                </c:pt>
              </c:numCache>
            </c:numRef>
          </c:cat>
          <c:val>
            <c:numRef>
              <c:f>股票择时信号!$AC$11:$AC$307</c:f>
              <c:numCache>
                <c:formatCode>0.0%</c:formatCode>
                <c:ptCount val="297"/>
                <c:pt idx="0">
                  <c:v>1</c:v>
                </c:pt>
                <c:pt idx="1">
                  <c:v>0</c:v>
                </c:pt>
                <c:pt idx="2">
                  <c:v>0.5</c:v>
                </c:pt>
                <c:pt idx="3">
                  <c:v>0.33300000000000002</c:v>
                </c:pt>
                <c:pt idx="4">
                  <c:v>0.25</c:v>
                </c:pt>
                <c:pt idx="5">
                  <c:v>1</c:v>
                </c:pt>
                <c:pt idx="6">
                  <c:v>0.83299999999999996</c:v>
                </c:pt>
                <c:pt idx="7">
                  <c:v>1</c:v>
                </c:pt>
                <c:pt idx="8">
                  <c:v>1</c:v>
                </c:pt>
                <c:pt idx="9">
                  <c:v>0.33300000000000002</c:v>
                </c:pt>
                <c:pt idx="10">
                  <c:v>0.5</c:v>
                </c:pt>
                <c:pt idx="11">
                  <c:v>0</c:v>
                </c:pt>
                <c:pt idx="12">
                  <c:v>0</c:v>
                </c:pt>
                <c:pt idx="13">
                  <c:v>7.5999999999999998E-2</c:v>
                </c:pt>
                <c:pt idx="14">
                  <c:v>0</c:v>
                </c:pt>
                <c:pt idx="15">
                  <c:v>0.26600000000000001</c:v>
                </c:pt>
                <c:pt idx="16">
                  <c:v>0.125</c:v>
                </c:pt>
                <c:pt idx="17">
                  <c:v>0.41099999999999998</c:v>
                </c:pt>
                <c:pt idx="18">
                  <c:v>0.83299999999999996</c:v>
                </c:pt>
                <c:pt idx="19">
                  <c:v>0.42099999999999999</c:v>
                </c:pt>
                <c:pt idx="20">
                  <c:v>0.3</c:v>
                </c:pt>
                <c:pt idx="21">
                  <c:v>0.38</c:v>
                </c:pt>
                <c:pt idx="22">
                  <c:v>0</c:v>
                </c:pt>
                <c:pt idx="23">
                  <c:v>0.26</c:v>
                </c:pt>
                <c:pt idx="24">
                  <c:v>0.54100000000000004</c:v>
                </c:pt>
                <c:pt idx="25">
                  <c:v>0.76</c:v>
                </c:pt>
                <c:pt idx="26">
                  <c:v>0.5</c:v>
                </c:pt>
                <c:pt idx="27">
                  <c:v>0.222</c:v>
                </c:pt>
                <c:pt idx="28">
                  <c:v>0.107</c:v>
                </c:pt>
                <c:pt idx="29">
                  <c:v>0</c:v>
                </c:pt>
                <c:pt idx="30">
                  <c:v>0.3</c:v>
                </c:pt>
                <c:pt idx="31">
                  <c:v>0.25800000000000001</c:v>
                </c:pt>
                <c:pt idx="32">
                  <c:v>0.187</c:v>
                </c:pt>
                <c:pt idx="33">
                  <c:v>0.09</c:v>
                </c:pt>
                <c:pt idx="34">
                  <c:v>5.8000000000000003E-2</c:v>
                </c:pt>
                <c:pt idx="35">
                  <c:v>8.5000000000000006E-2</c:v>
                </c:pt>
                <c:pt idx="36">
                  <c:v>5.5E-2</c:v>
                </c:pt>
                <c:pt idx="37">
                  <c:v>0.29699999999999999</c:v>
                </c:pt>
                <c:pt idx="38">
                  <c:v>0.57799999999999996</c:v>
                </c:pt>
                <c:pt idx="39">
                  <c:v>0.61499999999999999</c:v>
                </c:pt>
                <c:pt idx="40">
                  <c:v>0.75</c:v>
                </c:pt>
                <c:pt idx="41">
                  <c:v>0.75600000000000001</c:v>
                </c:pt>
                <c:pt idx="42">
                  <c:v>0.83299999999999996</c:v>
                </c:pt>
                <c:pt idx="43">
                  <c:v>0.88300000000000001</c:v>
                </c:pt>
                <c:pt idx="44">
                  <c:v>0.25</c:v>
                </c:pt>
                <c:pt idx="45">
                  <c:v>4.3999999999999997E-2</c:v>
                </c:pt>
                <c:pt idx="46">
                  <c:v>0</c:v>
                </c:pt>
                <c:pt idx="47">
                  <c:v>2.1000000000000001E-2</c:v>
                </c:pt>
                <c:pt idx="48">
                  <c:v>0.375</c:v>
                </c:pt>
                <c:pt idx="49">
                  <c:v>0.65300000000000002</c:v>
                </c:pt>
                <c:pt idx="50">
                  <c:v>0.57999999999999996</c:v>
                </c:pt>
                <c:pt idx="51">
                  <c:v>0.43099999999999999</c:v>
                </c:pt>
                <c:pt idx="52">
                  <c:v>0.53800000000000003</c:v>
                </c:pt>
                <c:pt idx="53">
                  <c:v>0.433</c:v>
                </c:pt>
                <c:pt idx="54">
                  <c:v>0.55500000000000005</c:v>
                </c:pt>
                <c:pt idx="55">
                  <c:v>0.34499999999999997</c:v>
                </c:pt>
                <c:pt idx="56">
                  <c:v>0.30299999999999999</c:v>
                </c:pt>
                <c:pt idx="57">
                  <c:v>0.52600000000000002</c:v>
                </c:pt>
                <c:pt idx="58">
                  <c:v>0.5</c:v>
                </c:pt>
                <c:pt idx="59">
                  <c:v>0.47399999999999998</c:v>
                </c:pt>
                <c:pt idx="60">
                  <c:v>0.45</c:v>
                </c:pt>
                <c:pt idx="61">
                  <c:v>0.18</c:v>
                </c:pt>
                <c:pt idx="62">
                  <c:v>0.14499999999999999</c:v>
                </c:pt>
                <c:pt idx="63">
                  <c:v>0.17399999999999999</c:v>
                </c:pt>
                <c:pt idx="64">
                  <c:v>0.14000000000000001</c:v>
                </c:pt>
                <c:pt idx="65">
                  <c:v>0.2</c:v>
                </c:pt>
                <c:pt idx="66">
                  <c:v>0.378</c:v>
                </c:pt>
                <c:pt idx="67">
                  <c:v>0.52200000000000002</c:v>
                </c:pt>
                <c:pt idx="68">
                  <c:v>0.25</c:v>
                </c:pt>
                <c:pt idx="69">
                  <c:v>0.52100000000000002</c:v>
                </c:pt>
                <c:pt idx="70">
                  <c:v>0.64200000000000002</c:v>
                </c:pt>
                <c:pt idx="71">
                  <c:v>0.36599999999999999</c:v>
                </c:pt>
                <c:pt idx="72">
                  <c:v>0.56899999999999995</c:v>
                </c:pt>
                <c:pt idx="73">
                  <c:v>0.28699999999999998</c:v>
                </c:pt>
                <c:pt idx="74">
                  <c:v>6.7000000000000004E-2</c:v>
                </c:pt>
                <c:pt idx="75">
                  <c:v>0.21299999999999999</c:v>
                </c:pt>
                <c:pt idx="76">
                  <c:v>0.48599999999999999</c:v>
                </c:pt>
                <c:pt idx="77">
                  <c:v>0.67500000000000004</c:v>
                </c:pt>
                <c:pt idx="78">
                  <c:v>0.65300000000000002</c:v>
                </c:pt>
                <c:pt idx="79">
                  <c:v>0.63200000000000001</c:v>
                </c:pt>
                <c:pt idx="80">
                  <c:v>0.32500000000000001</c:v>
                </c:pt>
                <c:pt idx="81">
                  <c:v>0.13500000000000001</c:v>
                </c:pt>
                <c:pt idx="82">
                  <c:v>0.41399999999999998</c:v>
                </c:pt>
                <c:pt idx="83">
                  <c:v>0.216</c:v>
                </c:pt>
                <c:pt idx="84">
                  <c:v>0.51100000000000001</c:v>
                </c:pt>
                <c:pt idx="85">
                  <c:v>0.42299999999999999</c:v>
                </c:pt>
                <c:pt idx="86">
                  <c:v>0.372</c:v>
                </c:pt>
                <c:pt idx="87">
                  <c:v>0.39</c:v>
                </c:pt>
                <c:pt idx="88">
                  <c:v>0.318</c:v>
                </c:pt>
                <c:pt idx="89">
                  <c:v>0.57299999999999995</c:v>
                </c:pt>
                <c:pt idx="90">
                  <c:v>0.34399999999999997</c:v>
                </c:pt>
                <c:pt idx="91">
                  <c:v>0.626</c:v>
                </c:pt>
                <c:pt idx="92">
                  <c:v>0.55400000000000005</c:v>
                </c:pt>
                <c:pt idx="93">
                  <c:v>0.376</c:v>
                </c:pt>
                <c:pt idx="94">
                  <c:v>0.26500000000000001</c:v>
                </c:pt>
                <c:pt idx="95">
                  <c:v>0.30499999999999999</c:v>
                </c:pt>
                <c:pt idx="96">
                  <c:v>0.54100000000000004</c:v>
                </c:pt>
                <c:pt idx="97">
                  <c:v>0.52500000000000002</c:v>
                </c:pt>
                <c:pt idx="98">
                  <c:v>0.622</c:v>
                </c:pt>
                <c:pt idx="99">
                  <c:v>0.434</c:v>
                </c:pt>
                <c:pt idx="100">
                  <c:v>0.14000000000000001</c:v>
                </c:pt>
                <c:pt idx="101">
                  <c:v>6.9000000000000006E-2</c:v>
                </c:pt>
                <c:pt idx="102">
                  <c:v>4.9000000000000002E-2</c:v>
                </c:pt>
                <c:pt idx="103">
                  <c:v>8.6999999999999994E-2</c:v>
                </c:pt>
                <c:pt idx="104">
                  <c:v>6.7000000000000004E-2</c:v>
                </c:pt>
                <c:pt idx="105">
                  <c:v>0.14199999999999999</c:v>
                </c:pt>
                <c:pt idx="106">
                  <c:v>0.32</c:v>
                </c:pt>
                <c:pt idx="107">
                  <c:v>0.308</c:v>
                </c:pt>
                <c:pt idx="108">
                  <c:v>0.70299999999999996</c:v>
                </c:pt>
                <c:pt idx="109">
                  <c:v>0.85299999999999998</c:v>
                </c:pt>
                <c:pt idx="110">
                  <c:v>0.83599999999999997</c:v>
                </c:pt>
                <c:pt idx="111">
                  <c:v>0.81</c:v>
                </c:pt>
                <c:pt idx="112">
                  <c:v>0.84799999999999998</c:v>
                </c:pt>
                <c:pt idx="113">
                  <c:v>0.65400000000000003</c:v>
                </c:pt>
                <c:pt idx="114">
                  <c:v>0.64</c:v>
                </c:pt>
                <c:pt idx="115">
                  <c:v>0.6</c:v>
                </c:pt>
                <c:pt idx="116">
                  <c:v>0.38700000000000001</c:v>
                </c:pt>
                <c:pt idx="117">
                  <c:v>0.32400000000000001</c:v>
                </c:pt>
                <c:pt idx="118">
                  <c:v>0.313</c:v>
                </c:pt>
                <c:pt idx="119">
                  <c:v>0.53700000000000003</c:v>
                </c:pt>
                <c:pt idx="120">
                  <c:v>0.40799999999999997</c:v>
                </c:pt>
                <c:pt idx="121">
                  <c:v>0.74299999999999999</c:v>
                </c:pt>
                <c:pt idx="122">
                  <c:v>0.79500000000000004</c:v>
                </c:pt>
                <c:pt idx="123">
                  <c:v>0.54400000000000004</c:v>
                </c:pt>
                <c:pt idx="124">
                  <c:v>0.20100000000000001</c:v>
                </c:pt>
                <c:pt idx="125">
                  <c:v>0.17599999999999999</c:v>
                </c:pt>
                <c:pt idx="126">
                  <c:v>4.7E-2</c:v>
                </c:pt>
                <c:pt idx="127">
                  <c:v>0.157</c:v>
                </c:pt>
                <c:pt idx="128">
                  <c:v>0.70299999999999996</c:v>
                </c:pt>
                <c:pt idx="129">
                  <c:v>0.83699999999999997</c:v>
                </c:pt>
                <c:pt idx="130">
                  <c:v>0.69199999999999995</c:v>
                </c:pt>
                <c:pt idx="131">
                  <c:v>0.28199999999999997</c:v>
                </c:pt>
                <c:pt idx="132">
                  <c:v>0.128</c:v>
                </c:pt>
                <c:pt idx="133">
                  <c:v>4.4999999999999998E-2</c:v>
                </c:pt>
                <c:pt idx="134">
                  <c:v>0.27600000000000002</c:v>
                </c:pt>
                <c:pt idx="135">
                  <c:v>0.622</c:v>
                </c:pt>
                <c:pt idx="136">
                  <c:v>0.63900000000000001</c:v>
                </c:pt>
                <c:pt idx="137">
                  <c:v>0.28399999999999997</c:v>
                </c:pt>
                <c:pt idx="138">
                  <c:v>0.224</c:v>
                </c:pt>
                <c:pt idx="139">
                  <c:v>0.20100000000000001</c:v>
                </c:pt>
                <c:pt idx="140">
                  <c:v>0.307</c:v>
                </c:pt>
                <c:pt idx="141">
                  <c:v>0.503</c:v>
                </c:pt>
                <c:pt idx="142">
                  <c:v>0.88</c:v>
                </c:pt>
                <c:pt idx="143">
                  <c:v>0.81100000000000005</c:v>
                </c:pt>
                <c:pt idx="144">
                  <c:v>0.65900000000000003</c:v>
                </c:pt>
                <c:pt idx="145">
                  <c:v>0.51700000000000002</c:v>
                </c:pt>
                <c:pt idx="146">
                  <c:v>0.13</c:v>
                </c:pt>
                <c:pt idx="147">
                  <c:v>0.72099999999999997</c:v>
                </c:pt>
                <c:pt idx="148">
                  <c:v>0.86399999999999999</c:v>
                </c:pt>
                <c:pt idx="149">
                  <c:v>0.89900000000000002</c:v>
                </c:pt>
                <c:pt idx="150">
                  <c:v>0.82599999999999996</c:v>
                </c:pt>
                <c:pt idx="151">
                  <c:v>0.50900000000000001</c:v>
                </c:pt>
                <c:pt idx="152">
                  <c:v>0.14399999999999999</c:v>
                </c:pt>
                <c:pt idx="153">
                  <c:v>0.248</c:v>
                </c:pt>
                <c:pt idx="154">
                  <c:v>0.27200000000000002</c:v>
                </c:pt>
                <c:pt idx="155">
                  <c:v>0.54800000000000004</c:v>
                </c:pt>
                <c:pt idx="156">
                  <c:v>0.55700000000000005</c:v>
                </c:pt>
                <c:pt idx="157">
                  <c:v>0.34300000000000003</c:v>
                </c:pt>
                <c:pt idx="158">
                  <c:v>0.51800000000000002</c:v>
                </c:pt>
                <c:pt idx="159">
                  <c:v>0.23200000000000001</c:v>
                </c:pt>
                <c:pt idx="160">
                  <c:v>0.33100000000000002</c:v>
                </c:pt>
                <c:pt idx="161">
                  <c:v>0.60199999999999998</c:v>
                </c:pt>
                <c:pt idx="162">
                  <c:v>0.61099999999999999</c:v>
                </c:pt>
                <c:pt idx="163">
                  <c:v>0.63100000000000001</c:v>
                </c:pt>
                <c:pt idx="164">
                  <c:v>0.71299999999999997</c:v>
                </c:pt>
                <c:pt idx="165">
                  <c:v>0.49</c:v>
                </c:pt>
                <c:pt idx="166">
                  <c:v>0.34899999999999998</c:v>
                </c:pt>
                <c:pt idx="167">
                  <c:v>0.28699999999999998</c:v>
                </c:pt>
                <c:pt idx="168">
                  <c:v>0.36299999999999999</c:v>
                </c:pt>
                <c:pt idx="169">
                  <c:v>0.38400000000000001</c:v>
                </c:pt>
                <c:pt idx="170">
                  <c:v>0.57599999999999996</c:v>
                </c:pt>
                <c:pt idx="171">
                  <c:v>0.61399999999999999</c:v>
                </c:pt>
                <c:pt idx="172">
                  <c:v>0.308</c:v>
                </c:pt>
                <c:pt idx="173">
                  <c:v>0.38100000000000001</c:v>
                </c:pt>
                <c:pt idx="174">
                  <c:v>0.77500000000000002</c:v>
                </c:pt>
                <c:pt idx="175">
                  <c:v>0.54200000000000004</c:v>
                </c:pt>
                <c:pt idx="176">
                  <c:v>0.57899999999999996</c:v>
                </c:pt>
                <c:pt idx="177">
                  <c:v>0.68899999999999995</c:v>
                </c:pt>
                <c:pt idx="178">
                  <c:v>0.123</c:v>
                </c:pt>
                <c:pt idx="179">
                  <c:v>0.43</c:v>
                </c:pt>
                <c:pt idx="180">
                  <c:v>0.57699999999999996</c:v>
                </c:pt>
                <c:pt idx="181">
                  <c:v>0.71199999999999997</c:v>
                </c:pt>
                <c:pt idx="182">
                  <c:v>0.63100000000000001</c:v>
                </c:pt>
                <c:pt idx="183">
                  <c:v>0.36599999999999999</c:v>
                </c:pt>
                <c:pt idx="184">
                  <c:v>0.34699999999999998</c:v>
                </c:pt>
                <c:pt idx="185">
                  <c:v>0.21</c:v>
                </c:pt>
                <c:pt idx="186">
                  <c:v>0.60699999999999998</c:v>
                </c:pt>
                <c:pt idx="187">
                  <c:v>0.56599999999999995</c:v>
                </c:pt>
                <c:pt idx="188">
                  <c:v>0.436</c:v>
                </c:pt>
                <c:pt idx="189">
                  <c:v>0.34300000000000003</c:v>
                </c:pt>
                <c:pt idx="190">
                  <c:v>0.53600000000000003</c:v>
                </c:pt>
                <c:pt idx="191">
                  <c:v>0.54400000000000004</c:v>
                </c:pt>
                <c:pt idx="192">
                  <c:v>0.56200000000000006</c:v>
                </c:pt>
                <c:pt idx="193">
                  <c:v>0.53800000000000003</c:v>
                </c:pt>
                <c:pt idx="194">
                  <c:v>0.30399999999999999</c:v>
                </c:pt>
                <c:pt idx="195">
                  <c:v>0.66600000000000004</c:v>
                </c:pt>
                <c:pt idx="196">
                  <c:v>0.68300000000000005</c:v>
                </c:pt>
                <c:pt idx="197">
                  <c:v>0.73</c:v>
                </c:pt>
                <c:pt idx="198">
                  <c:v>0.71699999999999997</c:v>
                </c:pt>
                <c:pt idx="199">
                  <c:v>0.66800000000000004</c:v>
                </c:pt>
                <c:pt idx="200">
                  <c:v>0.26500000000000001</c:v>
                </c:pt>
                <c:pt idx="201">
                  <c:v>0.189</c:v>
                </c:pt>
                <c:pt idx="202">
                  <c:v>0.13800000000000001</c:v>
                </c:pt>
                <c:pt idx="203">
                  <c:v>0.16200000000000001</c:v>
                </c:pt>
                <c:pt idx="204">
                  <c:v>0.47499999999999998</c:v>
                </c:pt>
                <c:pt idx="205">
                  <c:v>0.624</c:v>
                </c:pt>
                <c:pt idx="206">
                  <c:v>0.67900000000000005</c:v>
                </c:pt>
                <c:pt idx="207">
                  <c:v>0.39600000000000002</c:v>
                </c:pt>
                <c:pt idx="208">
                  <c:v>0.25</c:v>
                </c:pt>
                <c:pt idx="209">
                  <c:v>0.41599999999999998</c:v>
                </c:pt>
                <c:pt idx="210">
                  <c:v>0.26600000000000001</c:v>
                </c:pt>
                <c:pt idx="211">
                  <c:v>0.49199999999999999</c:v>
                </c:pt>
                <c:pt idx="212">
                  <c:v>0.41</c:v>
                </c:pt>
                <c:pt idx="213">
                  <c:v>0.50700000000000001</c:v>
                </c:pt>
                <c:pt idx="214">
                  <c:v>0.70499999999999996</c:v>
                </c:pt>
                <c:pt idx="215">
                  <c:v>0.52</c:v>
                </c:pt>
                <c:pt idx="216">
                  <c:v>0.625</c:v>
                </c:pt>
                <c:pt idx="217">
                  <c:v>0.45100000000000001</c:v>
                </c:pt>
                <c:pt idx="218">
                  <c:v>0.29799999999999999</c:v>
                </c:pt>
                <c:pt idx="219">
                  <c:v>0.39700000000000002</c:v>
                </c:pt>
                <c:pt idx="220">
                  <c:v>0.4</c:v>
                </c:pt>
                <c:pt idx="221">
                  <c:v>0.40200000000000002</c:v>
                </c:pt>
                <c:pt idx="222">
                  <c:v>0.36899999999999999</c:v>
                </c:pt>
                <c:pt idx="223">
                  <c:v>0.38500000000000001</c:v>
                </c:pt>
                <c:pt idx="224">
                  <c:v>0.48599999999999999</c:v>
                </c:pt>
                <c:pt idx="225">
                  <c:v>0.36399999999999999</c:v>
                </c:pt>
                <c:pt idx="226">
                  <c:v>0.65</c:v>
                </c:pt>
                <c:pt idx="227">
                  <c:v>0.76200000000000001</c:v>
                </c:pt>
                <c:pt idx="228">
                  <c:v>0.57799999999999996</c:v>
                </c:pt>
                <c:pt idx="229">
                  <c:v>0.59299999999999997</c:v>
                </c:pt>
                <c:pt idx="230">
                  <c:v>0.45200000000000001</c:v>
                </c:pt>
                <c:pt idx="231">
                  <c:v>0.22500000000000001</c:v>
                </c:pt>
                <c:pt idx="232">
                  <c:v>0.25</c:v>
                </c:pt>
                <c:pt idx="233">
                  <c:v>0.51900000000000002</c:v>
                </c:pt>
                <c:pt idx="234">
                  <c:v>0.76</c:v>
                </c:pt>
                <c:pt idx="235">
                  <c:v>0.69299999999999995</c:v>
                </c:pt>
                <c:pt idx="236">
                  <c:v>0.70299999999999996</c:v>
                </c:pt>
                <c:pt idx="237">
                  <c:v>0.53500000000000003</c:v>
                </c:pt>
                <c:pt idx="238">
                  <c:v>0.247</c:v>
                </c:pt>
                <c:pt idx="239">
                  <c:v>0.376</c:v>
                </c:pt>
                <c:pt idx="240">
                  <c:v>0.50800000000000001</c:v>
                </c:pt>
                <c:pt idx="241">
                  <c:v>0.443</c:v>
                </c:pt>
                <c:pt idx="242">
                  <c:v>0.442</c:v>
                </c:pt>
                <c:pt idx="243">
                  <c:v>0.40699999999999997</c:v>
                </c:pt>
                <c:pt idx="244">
                  <c:v>0.47899999999999998</c:v>
                </c:pt>
                <c:pt idx="245">
                  <c:v>0.49299999999999999</c:v>
                </c:pt>
                <c:pt idx="246">
                  <c:v>0.58499999999999996</c:v>
                </c:pt>
                <c:pt idx="247">
                  <c:v>0.76500000000000001</c:v>
                </c:pt>
                <c:pt idx="248">
                  <c:v>0.71699999999999997</c:v>
                </c:pt>
                <c:pt idx="249">
                  <c:v>0.77100000000000002</c:v>
                </c:pt>
                <c:pt idx="250">
                  <c:v>0.51600000000000001</c:v>
                </c:pt>
                <c:pt idx="251">
                  <c:v>0.19900000000000001</c:v>
                </c:pt>
                <c:pt idx="252">
                  <c:v>0.74199999999999999</c:v>
                </c:pt>
                <c:pt idx="253">
                  <c:v>0.80200000000000005</c:v>
                </c:pt>
                <c:pt idx="254">
                  <c:v>0.85799999999999998</c:v>
                </c:pt>
                <c:pt idx="255">
                  <c:v>0.77200000000000002</c:v>
                </c:pt>
                <c:pt idx="256">
                  <c:v>0.20699999999999999</c:v>
                </c:pt>
                <c:pt idx="257">
                  <c:v>0.11600000000000001</c:v>
                </c:pt>
                <c:pt idx="258">
                  <c:v>0.112</c:v>
                </c:pt>
                <c:pt idx="259">
                  <c:v>0.22</c:v>
                </c:pt>
                <c:pt idx="260">
                  <c:v>0.30299999999999999</c:v>
                </c:pt>
                <c:pt idx="261">
                  <c:v>0.56699999999999995</c:v>
                </c:pt>
                <c:pt idx="262">
                  <c:v>0.53</c:v>
                </c:pt>
                <c:pt idx="263">
                  <c:v>0.59299999999999997</c:v>
                </c:pt>
                <c:pt idx="264">
                  <c:v>0.52200000000000002</c:v>
                </c:pt>
                <c:pt idx="265">
                  <c:v>0.53200000000000003</c:v>
                </c:pt>
                <c:pt idx="266">
                  <c:v>0.66900000000000004</c:v>
                </c:pt>
                <c:pt idx="267">
                  <c:v>0.56499999999999995</c:v>
                </c:pt>
                <c:pt idx="268">
                  <c:v>0.61499999999999999</c:v>
                </c:pt>
                <c:pt idx="269">
                  <c:v>0.53900000000000003</c:v>
                </c:pt>
                <c:pt idx="270">
                  <c:v>0.34399999999999997</c:v>
                </c:pt>
                <c:pt idx="271">
                  <c:v>0.58299999999999996</c:v>
                </c:pt>
                <c:pt idx="272">
                  <c:v>0.375</c:v>
                </c:pt>
                <c:pt idx="273">
                  <c:v>0.35799999999999998</c:v>
                </c:pt>
                <c:pt idx="274">
                  <c:v>0.33900000000000002</c:v>
                </c:pt>
                <c:pt idx="275">
                  <c:v>0.28699999999999998</c:v>
                </c:pt>
                <c:pt idx="276">
                  <c:v>0.5</c:v>
                </c:pt>
                <c:pt idx="277">
                  <c:v>0.29199999999999998</c:v>
                </c:pt>
                <c:pt idx="278">
                  <c:v>0.56799999999999995</c:v>
                </c:pt>
                <c:pt idx="279">
                  <c:v>0.78800000000000003</c:v>
                </c:pt>
                <c:pt idx="280">
                  <c:v>0.57099999999999995</c:v>
                </c:pt>
                <c:pt idx="281">
                  <c:v>0.66900000000000004</c:v>
                </c:pt>
                <c:pt idx="282">
                  <c:v>0.47499999999999998</c:v>
                </c:pt>
                <c:pt idx="283">
                  <c:v>0.16900000000000001</c:v>
                </c:pt>
                <c:pt idx="284">
                  <c:v>0.30199999999999999</c:v>
                </c:pt>
                <c:pt idx="285">
                  <c:v>0.47</c:v>
                </c:pt>
                <c:pt idx="286">
                  <c:v>0.47499999999999998</c:v>
                </c:pt>
                <c:pt idx="287">
                  <c:v>0.372</c:v>
                </c:pt>
                <c:pt idx="288">
                  <c:v>0.28100000000000003</c:v>
                </c:pt>
                <c:pt idx="289">
                  <c:v>0.20699999999999999</c:v>
                </c:pt>
                <c:pt idx="290">
                  <c:v>0.48599999999999999</c:v>
                </c:pt>
                <c:pt idx="291">
                  <c:v>0.65600000000000003</c:v>
                </c:pt>
                <c:pt idx="292">
                  <c:v>0.58899999999999997</c:v>
                </c:pt>
                <c:pt idx="293">
                  <c:v>0.73699999999999999</c:v>
                </c:pt>
                <c:pt idx="294">
                  <c:v>0.435</c:v>
                </c:pt>
                <c:pt idx="295">
                  <c:v>0.45400000000000001</c:v>
                </c:pt>
                <c:pt idx="296">
                  <c:v>0.51600000000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99B5-4AC9-9ADD-3C277402B8FA}"/>
            </c:ext>
          </c:extLst>
        </c:ser>
        <c:ser>
          <c:idx val="2"/>
          <c:order val="3"/>
          <c:tx>
            <c:strRef>
              <c:f>股票择时信号!$AD$7</c:f>
              <c:strCache>
                <c:ptCount val="1"/>
                <c:pt idx="0">
                  <c:v>新房房价同比增速（负相关，已取负值）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7</c:f>
              <c:numCache>
                <c:formatCode>yyyy\-mm\-dd</c:formatCode>
                <c:ptCount val="297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  <c:pt idx="295">
                  <c:v>45998</c:v>
                </c:pt>
                <c:pt idx="296">
                  <c:v>46005</c:v>
                </c:pt>
              </c:numCache>
            </c:numRef>
          </c:cat>
          <c:val>
            <c:numRef>
              <c:f>股票择时信号!$AD$11:$AD$307</c:f>
              <c:numCache>
                <c:formatCode>0.0%</c:formatCode>
                <c:ptCount val="29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.8</c:v>
                </c:pt>
                <c:pt idx="6">
                  <c:v>0.66600000000000004</c:v>
                </c:pt>
                <c:pt idx="7">
                  <c:v>0.57099999999999995</c:v>
                </c:pt>
                <c:pt idx="8">
                  <c:v>0.5</c:v>
                </c:pt>
                <c:pt idx="9">
                  <c:v>0.44400000000000001</c:v>
                </c:pt>
                <c:pt idx="10">
                  <c:v>0.9</c:v>
                </c:pt>
                <c:pt idx="11">
                  <c:v>0.81799999999999995</c:v>
                </c:pt>
                <c:pt idx="12">
                  <c:v>0.75</c:v>
                </c:pt>
                <c:pt idx="13">
                  <c:v>0.69199999999999995</c:v>
                </c:pt>
                <c:pt idx="14">
                  <c:v>0.64200000000000002</c:v>
                </c:pt>
                <c:pt idx="15">
                  <c:v>0.6</c:v>
                </c:pt>
                <c:pt idx="16">
                  <c:v>0.56200000000000006</c:v>
                </c:pt>
                <c:pt idx="17">
                  <c:v>0.52900000000000003</c:v>
                </c:pt>
                <c:pt idx="18">
                  <c:v>0.94399999999999995</c:v>
                </c:pt>
                <c:pt idx="19">
                  <c:v>0.89400000000000002</c:v>
                </c:pt>
                <c:pt idx="20">
                  <c:v>0.85</c:v>
                </c:pt>
                <c:pt idx="21">
                  <c:v>0.80900000000000005</c:v>
                </c:pt>
                <c:pt idx="22">
                  <c:v>0.77200000000000002</c:v>
                </c:pt>
                <c:pt idx="23">
                  <c:v>0.95599999999999996</c:v>
                </c:pt>
                <c:pt idx="24">
                  <c:v>0.91600000000000004</c:v>
                </c:pt>
                <c:pt idx="25">
                  <c:v>0.88</c:v>
                </c:pt>
                <c:pt idx="26">
                  <c:v>0.84599999999999997</c:v>
                </c:pt>
                <c:pt idx="27">
                  <c:v>0.81399999999999995</c:v>
                </c:pt>
                <c:pt idx="28">
                  <c:v>0.96399999999999997</c:v>
                </c:pt>
                <c:pt idx="29">
                  <c:v>0.93100000000000005</c:v>
                </c:pt>
                <c:pt idx="30">
                  <c:v>0.9</c:v>
                </c:pt>
                <c:pt idx="31">
                  <c:v>0.87</c:v>
                </c:pt>
                <c:pt idx="32">
                  <c:v>0.96799999999999997</c:v>
                </c:pt>
                <c:pt idx="33">
                  <c:v>0.93899999999999995</c:v>
                </c:pt>
                <c:pt idx="34">
                  <c:v>0.91100000000000003</c:v>
                </c:pt>
                <c:pt idx="35">
                  <c:v>0.88500000000000001</c:v>
                </c:pt>
                <c:pt idx="36">
                  <c:v>0.97199999999999998</c:v>
                </c:pt>
                <c:pt idx="37">
                  <c:v>0.94499999999999995</c:v>
                </c:pt>
                <c:pt idx="38">
                  <c:v>0.92100000000000004</c:v>
                </c:pt>
                <c:pt idx="39">
                  <c:v>0.89700000000000002</c:v>
                </c:pt>
                <c:pt idx="40">
                  <c:v>0.875</c:v>
                </c:pt>
                <c:pt idx="41">
                  <c:v>0.97499999999999998</c:v>
                </c:pt>
                <c:pt idx="42">
                  <c:v>0.95199999999999996</c:v>
                </c:pt>
                <c:pt idx="43">
                  <c:v>0.93</c:v>
                </c:pt>
                <c:pt idx="44">
                  <c:v>0.90900000000000003</c:v>
                </c:pt>
                <c:pt idx="45">
                  <c:v>0.88800000000000001</c:v>
                </c:pt>
                <c:pt idx="46">
                  <c:v>0.86899999999999999</c:v>
                </c:pt>
                <c:pt idx="47">
                  <c:v>0.85099999999999998</c:v>
                </c:pt>
                <c:pt idx="48">
                  <c:v>0.83299999999999996</c:v>
                </c:pt>
                <c:pt idx="49">
                  <c:v>0.71399999999999997</c:v>
                </c:pt>
                <c:pt idx="50">
                  <c:v>0.7</c:v>
                </c:pt>
                <c:pt idx="51">
                  <c:v>0.68600000000000005</c:v>
                </c:pt>
                <c:pt idx="52">
                  <c:v>0.67300000000000004</c:v>
                </c:pt>
                <c:pt idx="53">
                  <c:v>0.58399999999999996</c:v>
                </c:pt>
                <c:pt idx="54">
                  <c:v>0.57399999999999995</c:v>
                </c:pt>
                <c:pt idx="55">
                  <c:v>0.56299999999999994</c:v>
                </c:pt>
                <c:pt idx="56">
                  <c:v>0.55300000000000005</c:v>
                </c:pt>
                <c:pt idx="57">
                  <c:v>0.54300000000000004</c:v>
                </c:pt>
                <c:pt idx="58">
                  <c:v>0.53400000000000003</c:v>
                </c:pt>
                <c:pt idx="59">
                  <c:v>0.52500000000000002</c:v>
                </c:pt>
                <c:pt idx="60">
                  <c:v>0.51600000000000001</c:v>
                </c:pt>
                <c:pt idx="61">
                  <c:v>0.50800000000000001</c:v>
                </c:pt>
                <c:pt idx="62">
                  <c:v>0.435</c:v>
                </c:pt>
                <c:pt idx="63">
                  <c:v>0.42799999999999999</c:v>
                </c:pt>
                <c:pt idx="64">
                  <c:v>0.42099999999999999</c:v>
                </c:pt>
                <c:pt idx="65">
                  <c:v>0.41499999999999998</c:v>
                </c:pt>
                <c:pt idx="66">
                  <c:v>0.66600000000000004</c:v>
                </c:pt>
                <c:pt idx="67">
                  <c:v>0.65600000000000003</c:v>
                </c:pt>
                <c:pt idx="68">
                  <c:v>0.64700000000000002</c:v>
                </c:pt>
                <c:pt idx="69">
                  <c:v>0.63700000000000001</c:v>
                </c:pt>
                <c:pt idx="70">
                  <c:v>0.628</c:v>
                </c:pt>
                <c:pt idx="71">
                  <c:v>0.746</c:v>
                </c:pt>
                <c:pt idx="72">
                  <c:v>0.73599999999999999</c:v>
                </c:pt>
                <c:pt idx="73">
                  <c:v>0.72599999999999998</c:v>
                </c:pt>
                <c:pt idx="74">
                  <c:v>0.71599999999999997</c:v>
                </c:pt>
                <c:pt idx="75">
                  <c:v>0.88</c:v>
                </c:pt>
                <c:pt idx="76">
                  <c:v>0.86799999999999999</c:v>
                </c:pt>
                <c:pt idx="77">
                  <c:v>0.85699999999999998</c:v>
                </c:pt>
                <c:pt idx="78">
                  <c:v>0.84599999999999997</c:v>
                </c:pt>
                <c:pt idx="79">
                  <c:v>0.83499999999999996</c:v>
                </c:pt>
                <c:pt idx="80">
                  <c:v>0.98699999999999999</c:v>
                </c:pt>
                <c:pt idx="81">
                  <c:v>0.97499999999999998</c:v>
                </c:pt>
                <c:pt idx="82">
                  <c:v>0.96299999999999997</c:v>
                </c:pt>
                <c:pt idx="83">
                  <c:v>0.95099999999999996</c:v>
                </c:pt>
                <c:pt idx="84">
                  <c:v>0.98799999999999999</c:v>
                </c:pt>
                <c:pt idx="85">
                  <c:v>0.97599999999999998</c:v>
                </c:pt>
                <c:pt idx="86">
                  <c:v>0.96499999999999997</c:v>
                </c:pt>
                <c:pt idx="87">
                  <c:v>0.95399999999999996</c:v>
                </c:pt>
                <c:pt idx="88">
                  <c:v>0.98799999999999999</c:v>
                </c:pt>
                <c:pt idx="89">
                  <c:v>0.97699999999999998</c:v>
                </c:pt>
                <c:pt idx="90">
                  <c:v>0.96599999999999997</c:v>
                </c:pt>
                <c:pt idx="91">
                  <c:v>0.95599999999999996</c:v>
                </c:pt>
                <c:pt idx="92">
                  <c:v>0.94499999999999995</c:v>
                </c:pt>
                <c:pt idx="93">
                  <c:v>0.98899999999999999</c:v>
                </c:pt>
                <c:pt idx="94">
                  <c:v>0.97799999999999998</c:v>
                </c:pt>
                <c:pt idx="95">
                  <c:v>0.96799999999999997</c:v>
                </c:pt>
                <c:pt idx="96">
                  <c:v>0.95799999999999996</c:v>
                </c:pt>
                <c:pt idx="97">
                  <c:v>0.94799999999999995</c:v>
                </c:pt>
                <c:pt idx="98">
                  <c:v>0.98899999999999999</c:v>
                </c:pt>
                <c:pt idx="99">
                  <c:v>0.97899999999999998</c:v>
                </c:pt>
                <c:pt idx="100">
                  <c:v>0.97</c:v>
                </c:pt>
                <c:pt idx="101">
                  <c:v>0.99</c:v>
                </c:pt>
                <c:pt idx="102">
                  <c:v>0.98</c:v>
                </c:pt>
                <c:pt idx="103">
                  <c:v>0.97</c:v>
                </c:pt>
                <c:pt idx="104">
                  <c:v>0.96099999999999997</c:v>
                </c:pt>
                <c:pt idx="105">
                  <c:v>0.95199999999999996</c:v>
                </c:pt>
                <c:pt idx="106">
                  <c:v>0.99</c:v>
                </c:pt>
                <c:pt idx="107">
                  <c:v>0.98099999999999998</c:v>
                </c:pt>
                <c:pt idx="108">
                  <c:v>0.97199999999999998</c:v>
                </c:pt>
                <c:pt idx="109">
                  <c:v>0.96299999999999997</c:v>
                </c:pt>
                <c:pt idx="110">
                  <c:v>1</c:v>
                </c:pt>
                <c:pt idx="111">
                  <c:v>0.99</c:v>
                </c:pt>
                <c:pt idx="112">
                  <c:v>0.98199999999999998</c:v>
                </c:pt>
                <c:pt idx="113">
                  <c:v>0.97299999999999998</c:v>
                </c:pt>
                <c:pt idx="114">
                  <c:v>1</c:v>
                </c:pt>
                <c:pt idx="115">
                  <c:v>0.99099999999999999</c:v>
                </c:pt>
                <c:pt idx="116">
                  <c:v>0.98199999999999998</c:v>
                </c:pt>
                <c:pt idx="117">
                  <c:v>0.97399999999999998</c:v>
                </c:pt>
                <c:pt idx="118">
                  <c:v>1</c:v>
                </c:pt>
                <c:pt idx="119">
                  <c:v>0.99099999999999999</c:v>
                </c:pt>
                <c:pt idx="120">
                  <c:v>0.98299999999999998</c:v>
                </c:pt>
                <c:pt idx="121">
                  <c:v>0.97499999999999998</c:v>
                </c:pt>
                <c:pt idx="122">
                  <c:v>0.96699999999999997</c:v>
                </c:pt>
                <c:pt idx="123">
                  <c:v>1</c:v>
                </c:pt>
                <c:pt idx="124">
                  <c:v>0.99099999999999999</c:v>
                </c:pt>
                <c:pt idx="125">
                  <c:v>0.98399999999999999</c:v>
                </c:pt>
                <c:pt idx="126">
                  <c:v>0.97599999999999998</c:v>
                </c:pt>
                <c:pt idx="127">
                  <c:v>1</c:v>
                </c:pt>
                <c:pt idx="128">
                  <c:v>0.99199999999999999</c:v>
                </c:pt>
                <c:pt idx="129">
                  <c:v>0.98399999999999999</c:v>
                </c:pt>
                <c:pt idx="130">
                  <c:v>0.97599999999999998</c:v>
                </c:pt>
                <c:pt idx="131">
                  <c:v>0.96899999999999997</c:v>
                </c:pt>
                <c:pt idx="132">
                  <c:v>0.96199999999999997</c:v>
                </c:pt>
                <c:pt idx="133">
                  <c:v>1</c:v>
                </c:pt>
                <c:pt idx="134">
                  <c:v>0.99199999999999999</c:v>
                </c:pt>
                <c:pt idx="135">
                  <c:v>0.98499999999999999</c:v>
                </c:pt>
                <c:pt idx="136">
                  <c:v>1</c:v>
                </c:pt>
                <c:pt idx="137">
                  <c:v>0.99199999999999999</c:v>
                </c:pt>
                <c:pt idx="138">
                  <c:v>0.98499999999999999</c:v>
                </c:pt>
                <c:pt idx="139">
                  <c:v>0.97799999999999998</c:v>
                </c:pt>
                <c:pt idx="140">
                  <c:v>0.95</c:v>
                </c:pt>
                <c:pt idx="141">
                  <c:v>0.94299999999999995</c:v>
                </c:pt>
                <c:pt idx="142">
                  <c:v>0.93600000000000005</c:v>
                </c:pt>
                <c:pt idx="143">
                  <c:v>0.93</c:v>
                </c:pt>
                <c:pt idx="144">
                  <c:v>0.92300000000000004</c:v>
                </c:pt>
                <c:pt idx="145">
                  <c:v>0.91700000000000004</c:v>
                </c:pt>
                <c:pt idx="146">
                  <c:v>0.91</c:v>
                </c:pt>
                <c:pt idx="147">
                  <c:v>0.90400000000000003</c:v>
                </c:pt>
                <c:pt idx="148">
                  <c:v>0.89800000000000002</c:v>
                </c:pt>
                <c:pt idx="149">
                  <c:v>0.89200000000000002</c:v>
                </c:pt>
                <c:pt idx="150">
                  <c:v>0.88600000000000001</c:v>
                </c:pt>
                <c:pt idx="151">
                  <c:v>0.88</c:v>
                </c:pt>
                <c:pt idx="152">
                  <c:v>0.875</c:v>
                </c:pt>
                <c:pt idx="153">
                  <c:v>0.83</c:v>
                </c:pt>
                <c:pt idx="154">
                  <c:v>0.82399999999999995</c:v>
                </c:pt>
                <c:pt idx="155">
                  <c:v>0.81899999999999995</c:v>
                </c:pt>
                <c:pt idx="156">
                  <c:v>0.81399999999999995</c:v>
                </c:pt>
                <c:pt idx="157">
                  <c:v>0.80800000000000005</c:v>
                </c:pt>
                <c:pt idx="158">
                  <c:v>0.77800000000000002</c:v>
                </c:pt>
                <c:pt idx="159">
                  <c:v>0.77300000000000002</c:v>
                </c:pt>
                <c:pt idx="160">
                  <c:v>0.76800000000000002</c:v>
                </c:pt>
                <c:pt idx="161">
                  <c:v>0.76300000000000001</c:v>
                </c:pt>
                <c:pt idx="162">
                  <c:v>0.70299999999999996</c:v>
                </c:pt>
                <c:pt idx="163">
                  <c:v>0.69899999999999995</c:v>
                </c:pt>
                <c:pt idx="164">
                  <c:v>0.69499999999999995</c:v>
                </c:pt>
                <c:pt idx="165">
                  <c:v>0.69</c:v>
                </c:pt>
                <c:pt idx="166">
                  <c:v>0.68600000000000005</c:v>
                </c:pt>
                <c:pt idx="167">
                  <c:v>0.68200000000000005</c:v>
                </c:pt>
                <c:pt idx="168">
                  <c:v>0.67800000000000005</c:v>
                </c:pt>
                <c:pt idx="169">
                  <c:v>0.67400000000000004</c:v>
                </c:pt>
                <c:pt idx="170">
                  <c:v>0.67</c:v>
                </c:pt>
                <c:pt idx="171">
                  <c:v>0.66600000000000004</c:v>
                </c:pt>
                <c:pt idx="172">
                  <c:v>0.66200000000000003</c:v>
                </c:pt>
                <c:pt idx="173">
                  <c:v>0.65800000000000003</c:v>
                </c:pt>
                <c:pt idx="174">
                  <c:v>0.65500000000000003</c:v>
                </c:pt>
                <c:pt idx="175">
                  <c:v>0.70199999999999996</c:v>
                </c:pt>
                <c:pt idx="176">
                  <c:v>0.69799999999999995</c:v>
                </c:pt>
                <c:pt idx="177">
                  <c:v>0.69399999999999995</c:v>
                </c:pt>
                <c:pt idx="178">
                  <c:v>0.69099999999999995</c:v>
                </c:pt>
                <c:pt idx="179">
                  <c:v>0.68700000000000006</c:v>
                </c:pt>
                <c:pt idx="180">
                  <c:v>0.68300000000000005</c:v>
                </c:pt>
                <c:pt idx="181">
                  <c:v>0.67900000000000005</c:v>
                </c:pt>
                <c:pt idx="182">
                  <c:v>0.67500000000000004</c:v>
                </c:pt>
                <c:pt idx="183">
                  <c:v>0.67200000000000004</c:v>
                </c:pt>
                <c:pt idx="184">
                  <c:v>0.66800000000000004</c:v>
                </c:pt>
                <c:pt idx="185">
                  <c:v>0.66400000000000003</c:v>
                </c:pt>
                <c:pt idx="186">
                  <c:v>0.66100000000000003</c:v>
                </c:pt>
                <c:pt idx="187">
                  <c:v>0.65700000000000003</c:v>
                </c:pt>
                <c:pt idx="188">
                  <c:v>0.65400000000000003</c:v>
                </c:pt>
                <c:pt idx="189">
                  <c:v>0.65</c:v>
                </c:pt>
                <c:pt idx="190">
                  <c:v>0.64700000000000002</c:v>
                </c:pt>
                <c:pt idx="191">
                  <c:v>0.64300000000000002</c:v>
                </c:pt>
                <c:pt idx="192">
                  <c:v>0.72899999999999998</c:v>
                </c:pt>
                <c:pt idx="193">
                  <c:v>0.72499999999999998</c:v>
                </c:pt>
                <c:pt idx="194">
                  <c:v>0.72099999999999997</c:v>
                </c:pt>
                <c:pt idx="195">
                  <c:v>0.71699999999999997</c:v>
                </c:pt>
                <c:pt idx="196">
                  <c:v>0.71399999999999997</c:v>
                </c:pt>
                <c:pt idx="197">
                  <c:v>0.77600000000000002</c:v>
                </c:pt>
                <c:pt idx="198">
                  <c:v>0.77200000000000002</c:v>
                </c:pt>
                <c:pt idx="199">
                  <c:v>0.76800000000000002</c:v>
                </c:pt>
                <c:pt idx="200">
                  <c:v>0.76500000000000001</c:v>
                </c:pt>
                <c:pt idx="201">
                  <c:v>0.76100000000000001</c:v>
                </c:pt>
                <c:pt idx="202">
                  <c:v>0.78200000000000003</c:v>
                </c:pt>
                <c:pt idx="203">
                  <c:v>0.77800000000000002</c:v>
                </c:pt>
                <c:pt idx="204">
                  <c:v>0.77400000000000002</c:v>
                </c:pt>
                <c:pt idx="205">
                  <c:v>0.77</c:v>
                </c:pt>
                <c:pt idx="206">
                  <c:v>0.84899999999999998</c:v>
                </c:pt>
                <c:pt idx="207">
                  <c:v>0.84499999999999997</c:v>
                </c:pt>
                <c:pt idx="208">
                  <c:v>0.84099999999999997</c:v>
                </c:pt>
                <c:pt idx="209">
                  <c:v>0.83699999999999997</c:v>
                </c:pt>
                <c:pt idx="210">
                  <c:v>1</c:v>
                </c:pt>
                <c:pt idx="211">
                  <c:v>0.995</c:v>
                </c:pt>
                <c:pt idx="212">
                  <c:v>0.99</c:v>
                </c:pt>
                <c:pt idx="213">
                  <c:v>0.98499999999999999</c:v>
                </c:pt>
                <c:pt idx="214">
                  <c:v>1</c:v>
                </c:pt>
                <c:pt idx="215">
                  <c:v>0.995</c:v>
                </c:pt>
                <c:pt idx="216">
                  <c:v>0.99</c:v>
                </c:pt>
                <c:pt idx="217">
                  <c:v>0.98599999999999999</c:v>
                </c:pt>
                <c:pt idx="218">
                  <c:v>0.98099999999999998</c:v>
                </c:pt>
                <c:pt idx="219">
                  <c:v>1</c:v>
                </c:pt>
                <c:pt idx="220">
                  <c:v>0.995</c:v>
                </c:pt>
                <c:pt idx="221">
                  <c:v>0.99</c:v>
                </c:pt>
                <c:pt idx="222">
                  <c:v>0.98599999999999999</c:v>
                </c:pt>
                <c:pt idx="223">
                  <c:v>1</c:v>
                </c:pt>
                <c:pt idx="224">
                  <c:v>0.995</c:v>
                </c:pt>
                <c:pt idx="225">
                  <c:v>0.99099999999999999</c:v>
                </c:pt>
                <c:pt idx="226">
                  <c:v>0.98599999999999999</c:v>
                </c:pt>
                <c:pt idx="227">
                  <c:v>1</c:v>
                </c:pt>
                <c:pt idx="228">
                  <c:v>0.995</c:v>
                </c:pt>
                <c:pt idx="229">
                  <c:v>0.99099999999999999</c:v>
                </c:pt>
                <c:pt idx="230">
                  <c:v>0.98599999999999999</c:v>
                </c:pt>
                <c:pt idx="231">
                  <c:v>1</c:v>
                </c:pt>
                <c:pt idx="232">
                  <c:v>0.995</c:v>
                </c:pt>
                <c:pt idx="233">
                  <c:v>0.99099999999999999</c:v>
                </c:pt>
                <c:pt idx="234">
                  <c:v>0.98699999999999999</c:v>
                </c:pt>
                <c:pt idx="235">
                  <c:v>0.98199999999999998</c:v>
                </c:pt>
                <c:pt idx="236">
                  <c:v>1</c:v>
                </c:pt>
                <c:pt idx="237">
                  <c:v>0.995</c:v>
                </c:pt>
                <c:pt idx="238">
                  <c:v>0.99099999999999999</c:v>
                </c:pt>
                <c:pt idx="239">
                  <c:v>0.98699999999999999</c:v>
                </c:pt>
                <c:pt idx="240">
                  <c:v>1</c:v>
                </c:pt>
                <c:pt idx="241">
                  <c:v>0.995</c:v>
                </c:pt>
                <c:pt idx="242">
                  <c:v>0.99099999999999999</c:v>
                </c:pt>
                <c:pt idx="243">
                  <c:v>0.98699999999999999</c:v>
                </c:pt>
                <c:pt idx="244">
                  <c:v>0.98299999999999998</c:v>
                </c:pt>
                <c:pt idx="245">
                  <c:v>0.96299999999999997</c:v>
                </c:pt>
                <c:pt idx="246">
                  <c:v>0.95899999999999996</c:v>
                </c:pt>
                <c:pt idx="247">
                  <c:v>0.95499999999999996</c:v>
                </c:pt>
                <c:pt idx="248">
                  <c:v>0.95099999999999996</c:v>
                </c:pt>
                <c:pt idx="249">
                  <c:v>0.92700000000000005</c:v>
                </c:pt>
                <c:pt idx="250">
                  <c:v>0.92400000000000004</c:v>
                </c:pt>
                <c:pt idx="251">
                  <c:v>0.92</c:v>
                </c:pt>
                <c:pt idx="252">
                  <c:v>0.91600000000000004</c:v>
                </c:pt>
                <c:pt idx="253">
                  <c:v>0.91300000000000003</c:v>
                </c:pt>
                <c:pt idx="254">
                  <c:v>0.90900000000000003</c:v>
                </c:pt>
                <c:pt idx="255">
                  <c:v>0.90500000000000003</c:v>
                </c:pt>
                <c:pt idx="256">
                  <c:v>0.90200000000000002</c:v>
                </c:pt>
                <c:pt idx="257">
                  <c:v>0.89800000000000002</c:v>
                </c:pt>
                <c:pt idx="258">
                  <c:v>0.879</c:v>
                </c:pt>
                <c:pt idx="259">
                  <c:v>0.876</c:v>
                </c:pt>
                <c:pt idx="260">
                  <c:v>0.873</c:v>
                </c:pt>
                <c:pt idx="261">
                  <c:v>0.86899999999999999</c:v>
                </c:pt>
                <c:pt idx="262">
                  <c:v>0.86599999999999999</c:v>
                </c:pt>
                <c:pt idx="263">
                  <c:v>0.86299999999999999</c:v>
                </c:pt>
                <c:pt idx="264">
                  <c:v>0.85899999999999999</c:v>
                </c:pt>
                <c:pt idx="265">
                  <c:v>0.85599999999999998</c:v>
                </c:pt>
                <c:pt idx="266">
                  <c:v>0.85299999999999998</c:v>
                </c:pt>
                <c:pt idx="267">
                  <c:v>0.83499999999999996</c:v>
                </c:pt>
                <c:pt idx="268">
                  <c:v>0.83199999999999996</c:v>
                </c:pt>
                <c:pt idx="269">
                  <c:v>0.82799999999999996</c:v>
                </c:pt>
                <c:pt idx="270">
                  <c:v>0.82499999999999996</c:v>
                </c:pt>
                <c:pt idx="271">
                  <c:v>0.80800000000000005</c:v>
                </c:pt>
                <c:pt idx="272">
                  <c:v>0.80500000000000005</c:v>
                </c:pt>
                <c:pt idx="273">
                  <c:v>0.80200000000000005</c:v>
                </c:pt>
                <c:pt idx="274">
                  <c:v>0.79900000000000004</c:v>
                </c:pt>
                <c:pt idx="275">
                  <c:v>0.79600000000000004</c:v>
                </c:pt>
                <c:pt idx="276">
                  <c:v>0.79300000000000004</c:v>
                </c:pt>
                <c:pt idx="277">
                  <c:v>0.79</c:v>
                </c:pt>
                <c:pt idx="278">
                  <c:v>0.78700000000000003</c:v>
                </c:pt>
                <c:pt idx="279">
                  <c:v>0.76700000000000002</c:v>
                </c:pt>
                <c:pt idx="280">
                  <c:v>0.76400000000000001</c:v>
                </c:pt>
                <c:pt idx="281">
                  <c:v>0.76100000000000001</c:v>
                </c:pt>
                <c:pt idx="282">
                  <c:v>0.75800000000000001</c:v>
                </c:pt>
                <c:pt idx="283">
                  <c:v>0.75600000000000001</c:v>
                </c:pt>
                <c:pt idx="284">
                  <c:v>0.753</c:v>
                </c:pt>
                <c:pt idx="285">
                  <c:v>0.75</c:v>
                </c:pt>
                <c:pt idx="286">
                  <c:v>0.748</c:v>
                </c:pt>
                <c:pt idx="287">
                  <c:v>0.745</c:v>
                </c:pt>
                <c:pt idx="288">
                  <c:v>0.74299999999999999</c:v>
                </c:pt>
                <c:pt idx="289">
                  <c:v>0.72599999999999998</c:v>
                </c:pt>
                <c:pt idx="290">
                  <c:v>0.72399999999999998</c:v>
                </c:pt>
                <c:pt idx="291">
                  <c:v>0.72099999999999997</c:v>
                </c:pt>
                <c:pt idx="292">
                  <c:v>0.71899999999999997</c:v>
                </c:pt>
                <c:pt idx="293">
                  <c:v>0.71599999999999997</c:v>
                </c:pt>
                <c:pt idx="294">
                  <c:v>0.71399999999999997</c:v>
                </c:pt>
                <c:pt idx="295">
                  <c:v>0.71099999999999997</c:v>
                </c:pt>
                <c:pt idx="296">
                  <c:v>0.7089999999999999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99B5-4AC9-9ADD-3C277402B8FA}"/>
            </c:ext>
          </c:extLst>
        </c:ser>
        <c:ser>
          <c:idx val="3"/>
          <c:order val="4"/>
          <c:tx>
            <c:strRef>
              <c:f>股票择时信号!$AE$7</c:f>
              <c:strCache>
                <c:ptCount val="1"/>
                <c:pt idx="0">
                  <c:v>人民币兑美元离岸汇率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7</c:f>
              <c:numCache>
                <c:formatCode>yyyy\-mm\-dd</c:formatCode>
                <c:ptCount val="297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  <c:pt idx="295">
                  <c:v>45998</c:v>
                </c:pt>
                <c:pt idx="296">
                  <c:v>46005</c:v>
                </c:pt>
              </c:numCache>
            </c:numRef>
          </c:cat>
          <c:val>
            <c:numRef>
              <c:f>股票择时信号!$AE$11:$AE$307</c:f>
              <c:numCache>
                <c:formatCode>0.0%</c:formatCode>
                <c:ptCount val="29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0.375</c:v>
                </c:pt>
                <c:pt idx="9">
                  <c:v>0.222</c:v>
                </c:pt>
                <c:pt idx="10">
                  <c:v>0.3</c:v>
                </c:pt>
                <c:pt idx="11">
                  <c:v>0.27200000000000002</c:v>
                </c:pt>
                <c:pt idx="12">
                  <c:v>8.3000000000000004E-2</c:v>
                </c:pt>
                <c:pt idx="13">
                  <c:v>0</c:v>
                </c:pt>
                <c:pt idx="14">
                  <c:v>0</c:v>
                </c:pt>
                <c:pt idx="15">
                  <c:v>6.6000000000000003E-2</c:v>
                </c:pt>
                <c:pt idx="16">
                  <c:v>6.2E-2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4.1000000000000002E-2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3.4000000000000002E-2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.03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2.7E-2</c:v>
                </c:pt>
                <c:pt idx="38">
                  <c:v>0</c:v>
                </c:pt>
                <c:pt idx="39">
                  <c:v>0</c:v>
                </c:pt>
                <c:pt idx="40">
                  <c:v>2.5000000000000001E-2</c:v>
                </c:pt>
                <c:pt idx="41">
                  <c:v>4.8000000000000001E-2</c:v>
                </c:pt>
                <c:pt idx="42">
                  <c:v>2.3E-2</c:v>
                </c:pt>
                <c:pt idx="43">
                  <c:v>2.3E-2</c:v>
                </c:pt>
                <c:pt idx="44">
                  <c:v>0</c:v>
                </c:pt>
                <c:pt idx="45">
                  <c:v>2.1999999999999999E-2</c:v>
                </c:pt>
                <c:pt idx="46">
                  <c:v>0.13</c:v>
                </c:pt>
                <c:pt idx="47">
                  <c:v>0.17</c:v>
                </c:pt>
                <c:pt idx="48">
                  <c:v>0.187</c:v>
                </c:pt>
                <c:pt idx="49">
                  <c:v>0.183</c:v>
                </c:pt>
                <c:pt idx="50">
                  <c:v>0.3</c:v>
                </c:pt>
                <c:pt idx="51">
                  <c:v>0.372</c:v>
                </c:pt>
                <c:pt idx="52">
                  <c:v>0.32600000000000001</c:v>
                </c:pt>
                <c:pt idx="53">
                  <c:v>0.30099999999999999</c:v>
                </c:pt>
                <c:pt idx="54">
                  <c:v>0.14799999999999999</c:v>
                </c:pt>
                <c:pt idx="55">
                  <c:v>0.127</c:v>
                </c:pt>
                <c:pt idx="56">
                  <c:v>3.5000000000000003E-2</c:v>
                </c:pt>
                <c:pt idx="57">
                  <c:v>1.7000000000000001E-2</c:v>
                </c:pt>
                <c:pt idx="58">
                  <c:v>1.7000000000000001E-2</c:v>
                </c:pt>
                <c:pt idx="59">
                  <c:v>0</c:v>
                </c:pt>
                <c:pt idx="60">
                  <c:v>1.6E-2</c:v>
                </c:pt>
                <c:pt idx="61">
                  <c:v>3.2000000000000001E-2</c:v>
                </c:pt>
                <c:pt idx="62">
                  <c:v>9.6000000000000002E-2</c:v>
                </c:pt>
                <c:pt idx="63">
                  <c:v>0.19</c:v>
                </c:pt>
                <c:pt idx="64">
                  <c:v>0.20300000000000001</c:v>
                </c:pt>
                <c:pt idx="65">
                  <c:v>0.26100000000000001</c:v>
                </c:pt>
                <c:pt idx="66">
                  <c:v>0.21199999999999999</c:v>
                </c:pt>
                <c:pt idx="67">
                  <c:v>0.28299999999999997</c:v>
                </c:pt>
                <c:pt idx="68">
                  <c:v>0.26400000000000001</c:v>
                </c:pt>
                <c:pt idx="69">
                  <c:v>0.20200000000000001</c:v>
                </c:pt>
                <c:pt idx="70">
                  <c:v>0.314</c:v>
                </c:pt>
                <c:pt idx="71">
                  <c:v>0.33800000000000002</c:v>
                </c:pt>
                <c:pt idx="72">
                  <c:v>0.19400000000000001</c:v>
                </c:pt>
                <c:pt idx="73">
                  <c:v>0.109</c:v>
                </c:pt>
                <c:pt idx="74">
                  <c:v>0.13500000000000001</c:v>
                </c:pt>
                <c:pt idx="75">
                  <c:v>0.14599999999999999</c:v>
                </c:pt>
                <c:pt idx="76">
                  <c:v>0.184</c:v>
                </c:pt>
                <c:pt idx="77">
                  <c:v>0.14199999999999999</c:v>
                </c:pt>
                <c:pt idx="78">
                  <c:v>0.115</c:v>
                </c:pt>
                <c:pt idx="79">
                  <c:v>7.4999999999999997E-2</c:v>
                </c:pt>
                <c:pt idx="80">
                  <c:v>2.5000000000000001E-2</c:v>
                </c:pt>
                <c:pt idx="81">
                  <c:v>4.9000000000000002E-2</c:v>
                </c:pt>
                <c:pt idx="82">
                  <c:v>0.06</c:v>
                </c:pt>
                <c:pt idx="83">
                  <c:v>1.2E-2</c:v>
                </c:pt>
                <c:pt idx="84">
                  <c:v>1.0999999999999999E-2</c:v>
                </c:pt>
                <c:pt idx="85">
                  <c:v>7.0000000000000007E-2</c:v>
                </c:pt>
                <c:pt idx="86">
                  <c:v>0</c:v>
                </c:pt>
                <c:pt idx="87">
                  <c:v>0</c:v>
                </c:pt>
                <c:pt idx="88">
                  <c:v>3.4000000000000002E-2</c:v>
                </c:pt>
                <c:pt idx="89">
                  <c:v>2.1999999999999999E-2</c:v>
                </c:pt>
                <c:pt idx="90">
                  <c:v>0</c:v>
                </c:pt>
                <c:pt idx="91">
                  <c:v>5.3999999999999999E-2</c:v>
                </c:pt>
                <c:pt idx="92">
                  <c:v>0</c:v>
                </c:pt>
                <c:pt idx="93">
                  <c:v>0</c:v>
                </c:pt>
                <c:pt idx="94">
                  <c:v>0.01</c:v>
                </c:pt>
                <c:pt idx="95">
                  <c:v>2.1000000000000001E-2</c:v>
                </c:pt>
                <c:pt idx="96">
                  <c:v>3.1E-2</c:v>
                </c:pt>
                <c:pt idx="97">
                  <c:v>0</c:v>
                </c:pt>
                <c:pt idx="98">
                  <c:v>0</c:v>
                </c:pt>
                <c:pt idx="99">
                  <c:v>0.01</c:v>
                </c:pt>
                <c:pt idx="100">
                  <c:v>0.03</c:v>
                </c:pt>
                <c:pt idx="101">
                  <c:v>0.108</c:v>
                </c:pt>
                <c:pt idx="102">
                  <c:v>0.156</c:v>
                </c:pt>
                <c:pt idx="103">
                  <c:v>8.6999999999999994E-2</c:v>
                </c:pt>
                <c:pt idx="104">
                  <c:v>9.6000000000000002E-2</c:v>
                </c:pt>
                <c:pt idx="105">
                  <c:v>0.19</c:v>
                </c:pt>
                <c:pt idx="106">
                  <c:v>0.46200000000000002</c:v>
                </c:pt>
                <c:pt idx="107">
                  <c:v>0.71</c:v>
                </c:pt>
                <c:pt idx="108">
                  <c:v>0.73099999999999998</c:v>
                </c:pt>
                <c:pt idx="109">
                  <c:v>0.77900000000000003</c:v>
                </c:pt>
                <c:pt idx="110">
                  <c:v>0.754</c:v>
                </c:pt>
                <c:pt idx="111">
                  <c:v>0.72899999999999998</c:v>
                </c:pt>
                <c:pt idx="112">
                  <c:v>0.70499999999999996</c:v>
                </c:pt>
                <c:pt idx="113">
                  <c:v>0.71599999999999997</c:v>
                </c:pt>
                <c:pt idx="114">
                  <c:v>0.754</c:v>
                </c:pt>
                <c:pt idx="115">
                  <c:v>0.70399999999999996</c:v>
                </c:pt>
                <c:pt idx="116">
                  <c:v>0.70599999999999996</c:v>
                </c:pt>
                <c:pt idx="117">
                  <c:v>0.7</c:v>
                </c:pt>
                <c:pt idx="118">
                  <c:v>0.77100000000000002</c:v>
                </c:pt>
                <c:pt idx="119">
                  <c:v>0.77300000000000002</c:v>
                </c:pt>
                <c:pt idx="120">
                  <c:v>0.76600000000000001</c:v>
                </c:pt>
                <c:pt idx="121">
                  <c:v>0.77600000000000002</c:v>
                </c:pt>
                <c:pt idx="122">
                  <c:v>0.745</c:v>
                </c:pt>
                <c:pt idx="123">
                  <c:v>0.81299999999999994</c:v>
                </c:pt>
                <c:pt idx="124">
                  <c:v>0.83</c:v>
                </c:pt>
                <c:pt idx="125">
                  <c:v>0.84</c:v>
                </c:pt>
                <c:pt idx="126">
                  <c:v>0.85699999999999998</c:v>
                </c:pt>
                <c:pt idx="127">
                  <c:v>0.86599999999999999</c:v>
                </c:pt>
                <c:pt idx="128">
                  <c:v>0.94499999999999995</c:v>
                </c:pt>
                <c:pt idx="129">
                  <c:v>0.99199999999999999</c:v>
                </c:pt>
                <c:pt idx="130">
                  <c:v>0.95299999999999996</c:v>
                </c:pt>
                <c:pt idx="131">
                  <c:v>1</c:v>
                </c:pt>
                <c:pt idx="132">
                  <c:v>1</c:v>
                </c:pt>
                <c:pt idx="133">
                  <c:v>1</c:v>
                </c:pt>
                <c:pt idx="134">
                  <c:v>0.99199999999999999</c:v>
                </c:pt>
                <c:pt idx="135">
                  <c:v>0.97</c:v>
                </c:pt>
                <c:pt idx="136">
                  <c:v>0.91900000000000004</c:v>
                </c:pt>
                <c:pt idx="137">
                  <c:v>0.97</c:v>
                </c:pt>
                <c:pt idx="138">
                  <c:v>0.876</c:v>
                </c:pt>
                <c:pt idx="139">
                  <c:v>0.79100000000000004</c:v>
                </c:pt>
                <c:pt idx="140">
                  <c:v>0.79200000000000004</c:v>
                </c:pt>
                <c:pt idx="141">
                  <c:v>0.80100000000000005</c:v>
                </c:pt>
                <c:pt idx="142">
                  <c:v>0.76700000000000002</c:v>
                </c:pt>
                <c:pt idx="143">
                  <c:v>0.72</c:v>
                </c:pt>
                <c:pt idx="144">
                  <c:v>0.63100000000000001</c:v>
                </c:pt>
                <c:pt idx="145">
                  <c:v>0.66800000000000004</c:v>
                </c:pt>
                <c:pt idx="146">
                  <c:v>0.65700000000000003</c:v>
                </c:pt>
                <c:pt idx="147">
                  <c:v>0.66600000000000004</c:v>
                </c:pt>
                <c:pt idx="148">
                  <c:v>0.69499999999999995</c:v>
                </c:pt>
                <c:pt idx="149">
                  <c:v>0.72399999999999998</c:v>
                </c:pt>
                <c:pt idx="150">
                  <c:v>0.76</c:v>
                </c:pt>
                <c:pt idx="151">
                  <c:v>0.74099999999999999</c:v>
                </c:pt>
                <c:pt idx="152">
                  <c:v>0.78200000000000003</c:v>
                </c:pt>
                <c:pt idx="153">
                  <c:v>0.73199999999999998</c:v>
                </c:pt>
                <c:pt idx="154">
                  <c:v>0.70699999999999996</c:v>
                </c:pt>
                <c:pt idx="155">
                  <c:v>0.72199999999999998</c:v>
                </c:pt>
                <c:pt idx="156">
                  <c:v>0.71699999999999997</c:v>
                </c:pt>
                <c:pt idx="157">
                  <c:v>0.72599999999999998</c:v>
                </c:pt>
                <c:pt idx="158">
                  <c:v>0.74</c:v>
                </c:pt>
                <c:pt idx="159">
                  <c:v>0.76100000000000001</c:v>
                </c:pt>
                <c:pt idx="160">
                  <c:v>0.75600000000000001</c:v>
                </c:pt>
                <c:pt idx="161">
                  <c:v>0.78200000000000003</c:v>
                </c:pt>
                <c:pt idx="162">
                  <c:v>0.85099999999999998</c:v>
                </c:pt>
                <c:pt idx="163">
                  <c:v>0.86499999999999999</c:v>
                </c:pt>
                <c:pt idx="164">
                  <c:v>0.92600000000000005</c:v>
                </c:pt>
                <c:pt idx="165">
                  <c:v>0.95099999999999996</c:v>
                </c:pt>
                <c:pt idx="166">
                  <c:v>0.95099999999999996</c:v>
                </c:pt>
                <c:pt idx="167">
                  <c:v>0.98199999999999998</c:v>
                </c:pt>
                <c:pt idx="168">
                  <c:v>0.98799999999999999</c:v>
                </c:pt>
                <c:pt idx="169">
                  <c:v>0.98199999999999998</c:v>
                </c:pt>
                <c:pt idx="170">
                  <c:v>0.95799999999999996</c:v>
                </c:pt>
                <c:pt idx="171">
                  <c:v>0.96399999999999997</c:v>
                </c:pt>
                <c:pt idx="172">
                  <c:v>0.93600000000000005</c:v>
                </c:pt>
                <c:pt idx="173">
                  <c:v>0.95299999999999996</c:v>
                </c:pt>
                <c:pt idx="174">
                  <c:v>0.97699999999999998</c:v>
                </c:pt>
                <c:pt idx="175">
                  <c:v>1</c:v>
                </c:pt>
                <c:pt idx="176">
                  <c:v>0.99399999999999999</c:v>
                </c:pt>
                <c:pt idx="177">
                  <c:v>0.98799999999999999</c:v>
                </c:pt>
                <c:pt idx="178">
                  <c:v>1</c:v>
                </c:pt>
                <c:pt idx="179">
                  <c:v>0.98299999999999998</c:v>
                </c:pt>
                <c:pt idx="180">
                  <c:v>0.98799999999999999</c:v>
                </c:pt>
                <c:pt idx="181">
                  <c:v>0.98799999999999999</c:v>
                </c:pt>
                <c:pt idx="182">
                  <c:v>0.99399999999999999</c:v>
                </c:pt>
                <c:pt idx="183">
                  <c:v>0.97799999999999998</c:v>
                </c:pt>
                <c:pt idx="184">
                  <c:v>0.99399999999999999</c:v>
                </c:pt>
                <c:pt idx="185">
                  <c:v>0.98899999999999999</c:v>
                </c:pt>
                <c:pt idx="186">
                  <c:v>0.98299999999999998</c:v>
                </c:pt>
                <c:pt idx="187">
                  <c:v>0.95099999999999996</c:v>
                </c:pt>
                <c:pt idx="188">
                  <c:v>0.91400000000000003</c:v>
                </c:pt>
                <c:pt idx="189">
                  <c:v>0.85099999999999998</c:v>
                </c:pt>
                <c:pt idx="190">
                  <c:v>0.83099999999999996</c:v>
                </c:pt>
                <c:pt idx="191">
                  <c:v>0.86299999999999999</c:v>
                </c:pt>
                <c:pt idx="192">
                  <c:v>0.84299999999999997</c:v>
                </c:pt>
                <c:pt idx="193">
                  <c:v>0.82899999999999996</c:v>
                </c:pt>
                <c:pt idx="194">
                  <c:v>0.80900000000000005</c:v>
                </c:pt>
                <c:pt idx="195">
                  <c:v>0.85599999999999998</c:v>
                </c:pt>
                <c:pt idx="196">
                  <c:v>0.877</c:v>
                </c:pt>
                <c:pt idx="197">
                  <c:v>0.89800000000000002</c:v>
                </c:pt>
                <c:pt idx="198">
                  <c:v>0.86799999999999999</c:v>
                </c:pt>
                <c:pt idx="199">
                  <c:v>0.89400000000000002</c:v>
                </c:pt>
                <c:pt idx="200">
                  <c:v>0.9</c:v>
                </c:pt>
                <c:pt idx="201">
                  <c:v>0.9</c:v>
                </c:pt>
                <c:pt idx="202">
                  <c:v>0.88600000000000001</c:v>
                </c:pt>
                <c:pt idx="203">
                  <c:v>0.89100000000000001</c:v>
                </c:pt>
                <c:pt idx="204">
                  <c:v>0.88200000000000001</c:v>
                </c:pt>
                <c:pt idx="205">
                  <c:v>0.86799999999999999</c:v>
                </c:pt>
                <c:pt idx="206">
                  <c:v>0.90700000000000003</c:v>
                </c:pt>
                <c:pt idx="207">
                  <c:v>0.92700000000000005</c:v>
                </c:pt>
                <c:pt idx="208">
                  <c:v>0.91800000000000004</c:v>
                </c:pt>
                <c:pt idx="209">
                  <c:v>0.92800000000000005</c:v>
                </c:pt>
                <c:pt idx="210">
                  <c:v>0.91400000000000003</c:v>
                </c:pt>
                <c:pt idx="211">
                  <c:v>0.92800000000000005</c:v>
                </c:pt>
                <c:pt idx="212">
                  <c:v>0.872</c:v>
                </c:pt>
                <c:pt idx="213">
                  <c:v>0.877</c:v>
                </c:pt>
                <c:pt idx="214">
                  <c:v>0.878</c:v>
                </c:pt>
                <c:pt idx="215">
                  <c:v>0.92</c:v>
                </c:pt>
                <c:pt idx="216">
                  <c:v>0.92500000000000004</c:v>
                </c:pt>
                <c:pt idx="217">
                  <c:v>0.92100000000000004</c:v>
                </c:pt>
                <c:pt idx="218">
                  <c:v>0.93500000000000005</c:v>
                </c:pt>
                <c:pt idx="219">
                  <c:v>0.94499999999999995</c:v>
                </c:pt>
                <c:pt idx="220">
                  <c:v>0.95899999999999996</c:v>
                </c:pt>
                <c:pt idx="221">
                  <c:v>0.95899999999999996</c:v>
                </c:pt>
                <c:pt idx="222">
                  <c:v>0.92700000000000005</c:v>
                </c:pt>
                <c:pt idx="223">
                  <c:v>0.93200000000000005</c:v>
                </c:pt>
                <c:pt idx="224">
                  <c:v>0.91</c:v>
                </c:pt>
                <c:pt idx="225">
                  <c:v>0.81699999999999995</c:v>
                </c:pt>
                <c:pt idx="226">
                  <c:v>0.747</c:v>
                </c:pt>
                <c:pt idx="227">
                  <c:v>0.74</c:v>
                </c:pt>
                <c:pt idx="228">
                  <c:v>0.68400000000000005</c:v>
                </c:pt>
                <c:pt idx="229">
                  <c:v>0.66800000000000004</c:v>
                </c:pt>
                <c:pt idx="230">
                  <c:v>0.66</c:v>
                </c:pt>
                <c:pt idx="231">
                  <c:v>0.67900000000000005</c:v>
                </c:pt>
                <c:pt idx="232">
                  <c:v>0.62</c:v>
                </c:pt>
                <c:pt idx="233">
                  <c:v>0.58299999999999996</c:v>
                </c:pt>
                <c:pt idx="234">
                  <c:v>0.59799999999999998</c:v>
                </c:pt>
                <c:pt idx="235">
                  <c:v>0.625</c:v>
                </c:pt>
                <c:pt idx="236">
                  <c:v>0.69</c:v>
                </c:pt>
                <c:pt idx="237">
                  <c:v>0.70399999999999996</c:v>
                </c:pt>
                <c:pt idx="238">
                  <c:v>0.71</c:v>
                </c:pt>
                <c:pt idx="239">
                  <c:v>0.75700000000000001</c:v>
                </c:pt>
                <c:pt idx="240">
                  <c:v>0.85399999999999998</c:v>
                </c:pt>
                <c:pt idx="241">
                  <c:v>0.871</c:v>
                </c:pt>
                <c:pt idx="242">
                  <c:v>0.86699999999999999</c:v>
                </c:pt>
                <c:pt idx="243">
                  <c:v>0.93799999999999994</c:v>
                </c:pt>
                <c:pt idx="244">
                  <c:v>0.92200000000000004</c:v>
                </c:pt>
                <c:pt idx="245">
                  <c:v>0.96299999999999997</c:v>
                </c:pt>
                <c:pt idx="246">
                  <c:v>0.96699999999999997</c:v>
                </c:pt>
                <c:pt idx="247">
                  <c:v>1</c:v>
                </c:pt>
                <c:pt idx="248">
                  <c:v>1</c:v>
                </c:pt>
                <c:pt idx="249">
                  <c:v>0.995</c:v>
                </c:pt>
                <c:pt idx="250">
                  <c:v>0.876</c:v>
                </c:pt>
                <c:pt idx="251">
                  <c:v>0.93200000000000005</c:v>
                </c:pt>
                <c:pt idx="252">
                  <c:v>0.94399999999999995</c:v>
                </c:pt>
                <c:pt idx="253">
                  <c:v>0.91300000000000003</c:v>
                </c:pt>
                <c:pt idx="254">
                  <c:v>0.86199999999999999</c:v>
                </c:pt>
                <c:pt idx="255">
                  <c:v>0.89800000000000002</c:v>
                </c:pt>
                <c:pt idx="256">
                  <c:v>0.83199999999999996</c:v>
                </c:pt>
                <c:pt idx="257">
                  <c:v>0.80900000000000005</c:v>
                </c:pt>
                <c:pt idx="258">
                  <c:v>0.81699999999999995</c:v>
                </c:pt>
                <c:pt idx="259">
                  <c:v>0.88400000000000001</c:v>
                </c:pt>
                <c:pt idx="260">
                  <c:v>0.92300000000000004</c:v>
                </c:pt>
                <c:pt idx="261">
                  <c:v>0.97699999999999998</c:v>
                </c:pt>
                <c:pt idx="262">
                  <c:v>0.96099999999999997</c:v>
                </c:pt>
                <c:pt idx="263">
                  <c:v>0.91600000000000004</c:v>
                </c:pt>
                <c:pt idx="264">
                  <c:v>0.80300000000000005</c:v>
                </c:pt>
                <c:pt idx="265">
                  <c:v>0.76600000000000001</c:v>
                </c:pt>
                <c:pt idx="266">
                  <c:v>0.73599999999999999</c:v>
                </c:pt>
                <c:pt idx="267">
                  <c:v>0.71499999999999997</c:v>
                </c:pt>
                <c:pt idx="268">
                  <c:v>0.72</c:v>
                </c:pt>
                <c:pt idx="269">
                  <c:v>0.70199999999999996</c:v>
                </c:pt>
                <c:pt idx="270">
                  <c:v>0.7</c:v>
                </c:pt>
                <c:pt idx="271">
                  <c:v>0.69699999999999995</c:v>
                </c:pt>
                <c:pt idx="272">
                  <c:v>0.67200000000000004</c:v>
                </c:pt>
                <c:pt idx="273">
                  <c:v>0.65900000000000003</c:v>
                </c:pt>
                <c:pt idx="274">
                  <c:v>0.68600000000000005</c:v>
                </c:pt>
                <c:pt idx="275">
                  <c:v>0.68700000000000006</c:v>
                </c:pt>
                <c:pt idx="276">
                  <c:v>0.65500000000000003</c:v>
                </c:pt>
                <c:pt idx="277">
                  <c:v>0.72199999999999998</c:v>
                </c:pt>
                <c:pt idx="278">
                  <c:v>0.70099999999999996</c:v>
                </c:pt>
                <c:pt idx="279">
                  <c:v>0.70599999999999996</c:v>
                </c:pt>
                <c:pt idx="280">
                  <c:v>0.67800000000000005</c:v>
                </c:pt>
                <c:pt idx="281">
                  <c:v>0.60399999999999998</c:v>
                </c:pt>
                <c:pt idx="282">
                  <c:v>0.58799999999999997</c:v>
                </c:pt>
                <c:pt idx="283">
                  <c:v>0.57499999999999996</c:v>
                </c:pt>
                <c:pt idx="284">
                  <c:v>0.56599999999999995</c:v>
                </c:pt>
                <c:pt idx="285">
                  <c:v>0.59599999999999997</c:v>
                </c:pt>
                <c:pt idx="286">
                  <c:v>0.58699999999999997</c:v>
                </c:pt>
                <c:pt idx="287">
                  <c:v>0.623</c:v>
                </c:pt>
                <c:pt idx="288">
                  <c:v>0.57899999999999996</c:v>
                </c:pt>
                <c:pt idx="289">
                  <c:v>0.57699999999999996</c:v>
                </c:pt>
                <c:pt idx="290">
                  <c:v>0.55500000000000005</c:v>
                </c:pt>
                <c:pt idx="291">
                  <c:v>0.57999999999999996</c:v>
                </c:pt>
                <c:pt idx="292">
                  <c:v>0.54700000000000004</c:v>
                </c:pt>
                <c:pt idx="293">
                  <c:v>0.55200000000000005</c:v>
                </c:pt>
                <c:pt idx="294">
                  <c:v>0.51</c:v>
                </c:pt>
                <c:pt idx="295">
                  <c:v>0.48099999999999998</c:v>
                </c:pt>
                <c:pt idx="296">
                  <c:v>0.4719999999999999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99B5-4AC9-9ADD-3C277402B8FA}"/>
            </c:ext>
          </c:extLst>
        </c:ser>
        <c:ser>
          <c:idx val="4"/>
          <c:order val="5"/>
          <c:tx>
            <c:strRef>
              <c:f>股票择时信号!$AF$7</c:f>
              <c:strCache>
                <c:ptCount val="1"/>
                <c:pt idx="0">
                  <c:v>CPI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7</c:f>
              <c:numCache>
                <c:formatCode>yyyy\-mm\-dd</c:formatCode>
                <c:ptCount val="297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  <c:pt idx="295">
                  <c:v>45998</c:v>
                </c:pt>
                <c:pt idx="296">
                  <c:v>46005</c:v>
                </c:pt>
              </c:numCache>
            </c:numRef>
          </c:cat>
          <c:val>
            <c:numRef>
              <c:f>股票择时信号!$AF$11:$AF$307</c:f>
              <c:numCache>
                <c:formatCode>0.0%</c:formatCode>
                <c:ptCount val="29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.307</c:v>
                </c:pt>
                <c:pt idx="14">
                  <c:v>0.28499999999999998</c:v>
                </c:pt>
                <c:pt idx="15">
                  <c:v>0.26600000000000001</c:v>
                </c:pt>
                <c:pt idx="16">
                  <c:v>0.25</c:v>
                </c:pt>
                <c:pt idx="17">
                  <c:v>0.23499999999999999</c:v>
                </c:pt>
                <c:pt idx="18">
                  <c:v>0.5</c:v>
                </c:pt>
                <c:pt idx="19">
                  <c:v>0.47299999999999998</c:v>
                </c:pt>
                <c:pt idx="20">
                  <c:v>0.45</c:v>
                </c:pt>
                <c:pt idx="21">
                  <c:v>0.42799999999999999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.125</c:v>
                </c:pt>
                <c:pt idx="41">
                  <c:v>0.121</c:v>
                </c:pt>
                <c:pt idx="42">
                  <c:v>0.11899999999999999</c:v>
                </c:pt>
                <c:pt idx="43">
                  <c:v>0.11600000000000001</c:v>
                </c:pt>
                <c:pt idx="44">
                  <c:v>0.113</c:v>
                </c:pt>
                <c:pt idx="45">
                  <c:v>0.111</c:v>
                </c:pt>
                <c:pt idx="46">
                  <c:v>0.108</c:v>
                </c:pt>
                <c:pt idx="47">
                  <c:v>0.106</c:v>
                </c:pt>
                <c:pt idx="48">
                  <c:v>0.187</c:v>
                </c:pt>
                <c:pt idx="49">
                  <c:v>0.183</c:v>
                </c:pt>
                <c:pt idx="50">
                  <c:v>0.18</c:v>
                </c:pt>
                <c:pt idx="51">
                  <c:v>0.17599999999999999</c:v>
                </c:pt>
                <c:pt idx="52">
                  <c:v>0.32600000000000001</c:v>
                </c:pt>
                <c:pt idx="53">
                  <c:v>0.32</c:v>
                </c:pt>
                <c:pt idx="54">
                  <c:v>0.314</c:v>
                </c:pt>
                <c:pt idx="55">
                  <c:v>0.309</c:v>
                </c:pt>
                <c:pt idx="56">
                  <c:v>0.30299999999999999</c:v>
                </c:pt>
                <c:pt idx="57">
                  <c:v>0.45600000000000002</c:v>
                </c:pt>
                <c:pt idx="58">
                  <c:v>0.44800000000000001</c:v>
                </c:pt>
                <c:pt idx="59">
                  <c:v>0.44</c:v>
                </c:pt>
                <c:pt idx="60">
                  <c:v>0.433</c:v>
                </c:pt>
                <c:pt idx="61">
                  <c:v>0.49099999999999999</c:v>
                </c:pt>
                <c:pt idx="62">
                  <c:v>0.48299999999999998</c:v>
                </c:pt>
                <c:pt idx="63">
                  <c:v>0.47599999999999998</c:v>
                </c:pt>
                <c:pt idx="64">
                  <c:v>0.46800000000000003</c:v>
                </c:pt>
                <c:pt idx="65">
                  <c:v>0.46100000000000002</c:v>
                </c:pt>
                <c:pt idx="66">
                  <c:v>0.45400000000000001</c:v>
                </c:pt>
                <c:pt idx="67">
                  <c:v>0.44700000000000001</c:v>
                </c:pt>
                <c:pt idx="68">
                  <c:v>0.441</c:v>
                </c:pt>
                <c:pt idx="69">
                  <c:v>0.434</c:v>
                </c:pt>
                <c:pt idx="70">
                  <c:v>0.42799999999999999</c:v>
                </c:pt>
                <c:pt idx="71">
                  <c:v>0.42199999999999999</c:v>
                </c:pt>
                <c:pt idx="72">
                  <c:v>0.41599999999999998</c:v>
                </c:pt>
                <c:pt idx="73">
                  <c:v>0.41</c:v>
                </c:pt>
                <c:pt idx="74">
                  <c:v>0.35099999999999998</c:v>
                </c:pt>
                <c:pt idx="75">
                  <c:v>0.34599999999999997</c:v>
                </c:pt>
                <c:pt idx="76">
                  <c:v>0.34200000000000003</c:v>
                </c:pt>
                <c:pt idx="77">
                  <c:v>0.33700000000000002</c:v>
                </c:pt>
                <c:pt idx="78">
                  <c:v>0.33300000000000002</c:v>
                </c:pt>
                <c:pt idx="79">
                  <c:v>0.32900000000000001</c:v>
                </c:pt>
                <c:pt idx="80">
                  <c:v>0.32500000000000001</c:v>
                </c:pt>
                <c:pt idx="81">
                  <c:v>0.32</c:v>
                </c:pt>
                <c:pt idx="82">
                  <c:v>0.317</c:v>
                </c:pt>
                <c:pt idx="83">
                  <c:v>0.626</c:v>
                </c:pt>
                <c:pt idx="84">
                  <c:v>0.61899999999999999</c:v>
                </c:pt>
                <c:pt idx="85">
                  <c:v>0.61099999999999999</c:v>
                </c:pt>
                <c:pt idx="86">
                  <c:v>0.60399999999999998</c:v>
                </c:pt>
                <c:pt idx="87">
                  <c:v>0.68899999999999995</c:v>
                </c:pt>
                <c:pt idx="88">
                  <c:v>0.68100000000000005</c:v>
                </c:pt>
                <c:pt idx="89">
                  <c:v>0.67400000000000004</c:v>
                </c:pt>
                <c:pt idx="90">
                  <c:v>0.66600000000000004</c:v>
                </c:pt>
                <c:pt idx="91">
                  <c:v>0.65900000000000003</c:v>
                </c:pt>
                <c:pt idx="92">
                  <c:v>0.56499999999999995</c:v>
                </c:pt>
                <c:pt idx="93">
                  <c:v>0.55900000000000005</c:v>
                </c:pt>
                <c:pt idx="94">
                  <c:v>0.55300000000000005</c:v>
                </c:pt>
                <c:pt idx="95">
                  <c:v>0.54700000000000004</c:v>
                </c:pt>
                <c:pt idx="96">
                  <c:v>0.54100000000000004</c:v>
                </c:pt>
                <c:pt idx="97">
                  <c:v>0.36</c:v>
                </c:pt>
                <c:pt idx="98">
                  <c:v>0.35699999999999998</c:v>
                </c:pt>
                <c:pt idx="99">
                  <c:v>0.35299999999999998</c:v>
                </c:pt>
                <c:pt idx="100">
                  <c:v>0.35</c:v>
                </c:pt>
                <c:pt idx="101">
                  <c:v>0.34599999999999997</c:v>
                </c:pt>
                <c:pt idx="102">
                  <c:v>0.34300000000000003</c:v>
                </c:pt>
                <c:pt idx="103">
                  <c:v>0.33900000000000002</c:v>
                </c:pt>
                <c:pt idx="104">
                  <c:v>0.33600000000000002</c:v>
                </c:pt>
                <c:pt idx="105">
                  <c:v>0.57099999999999995</c:v>
                </c:pt>
                <c:pt idx="106">
                  <c:v>0.56599999999999995</c:v>
                </c:pt>
                <c:pt idx="107">
                  <c:v>0.56000000000000005</c:v>
                </c:pt>
                <c:pt idx="108">
                  <c:v>0.55500000000000005</c:v>
                </c:pt>
                <c:pt idx="109">
                  <c:v>0.70599999999999996</c:v>
                </c:pt>
                <c:pt idx="110">
                  <c:v>0.7</c:v>
                </c:pt>
                <c:pt idx="111">
                  <c:v>0.69299999999999995</c:v>
                </c:pt>
                <c:pt idx="112">
                  <c:v>0.68700000000000006</c:v>
                </c:pt>
                <c:pt idx="113">
                  <c:v>0.68100000000000005</c:v>
                </c:pt>
                <c:pt idx="114">
                  <c:v>0.67500000000000004</c:v>
                </c:pt>
                <c:pt idx="115">
                  <c:v>0.66900000000000004</c:v>
                </c:pt>
                <c:pt idx="116">
                  <c:v>0.66300000000000003</c:v>
                </c:pt>
                <c:pt idx="117">
                  <c:v>0.84599999999999997</c:v>
                </c:pt>
                <c:pt idx="118">
                  <c:v>0.83799999999999997</c:v>
                </c:pt>
                <c:pt idx="119">
                  <c:v>0.83099999999999996</c:v>
                </c:pt>
                <c:pt idx="120">
                  <c:v>0.82499999999999996</c:v>
                </c:pt>
                <c:pt idx="121">
                  <c:v>0.81799999999999995</c:v>
                </c:pt>
                <c:pt idx="122">
                  <c:v>0.89300000000000002</c:v>
                </c:pt>
                <c:pt idx="123">
                  <c:v>0.88600000000000001</c:v>
                </c:pt>
                <c:pt idx="124">
                  <c:v>0.879</c:v>
                </c:pt>
                <c:pt idx="125">
                  <c:v>0.872</c:v>
                </c:pt>
                <c:pt idx="126">
                  <c:v>0.78500000000000003</c:v>
                </c:pt>
                <c:pt idx="127">
                  <c:v>0.77900000000000003</c:v>
                </c:pt>
                <c:pt idx="128">
                  <c:v>0.77300000000000002</c:v>
                </c:pt>
                <c:pt idx="129">
                  <c:v>0.76700000000000002</c:v>
                </c:pt>
                <c:pt idx="130">
                  <c:v>0.76100000000000001</c:v>
                </c:pt>
                <c:pt idx="131">
                  <c:v>0.93100000000000005</c:v>
                </c:pt>
                <c:pt idx="132">
                  <c:v>0.92400000000000004</c:v>
                </c:pt>
                <c:pt idx="133">
                  <c:v>0.91700000000000004</c:v>
                </c:pt>
                <c:pt idx="134">
                  <c:v>0.91</c:v>
                </c:pt>
                <c:pt idx="135">
                  <c:v>0.56999999999999995</c:v>
                </c:pt>
                <c:pt idx="136">
                  <c:v>0.56599999999999995</c:v>
                </c:pt>
                <c:pt idx="137">
                  <c:v>0.56200000000000006</c:v>
                </c:pt>
                <c:pt idx="138">
                  <c:v>0.55700000000000005</c:v>
                </c:pt>
                <c:pt idx="139">
                  <c:v>0.52500000000000002</c:v>
                </c:pt>
                <c:pt idx="140">
                  <c:v>0.52100000000000002</c:v>
                </c:pt>
                <c:pt idx="141">
                  <c:v>0.51700000000000002</c:v>
                </c:pt>
                <c:pt idx="142">
                  <c:v>0.51400000000000001</c:v>
                </c:pt>
                <c:pt idx="143">
                  <c:v>0.51</c:v>
                </c:pt>
                <c:pt idx="144">
                  <c:v>0.56899999999999995</c:v>
                </c:pt>
                <c:pt idx="145">
                  <c:v>0.56499999999999995</c:v>
                </c:pt>
                <c:pt idx="146">
                  <c:v>0.56100000000000005</c:v>
                </c:pt>
                <c:pt idx="147">
                  <c:v>0.55700000000000005</c:v>
                </c:pt>
                <c:pt idx="148">
                  <c:v>0.58099999999999996</c:v>
                </c:pt>
                <c:pt idx="149">
                  <c:v>0.57699999999999996</c:v>
                </c:pt>
                <c:pt idx="150">
                  <c:v>0.57299999999999995</c:v>
                </c:pt>
                <c:pt idx="151">
                  <c:v>0.56899999999999995</c:v>
                </c:pt>
                <c:pt idx="152">
                  <c:v>0.309</c:v>
                </c:pt>
                <c:pt idx="153">
                  <c:v>0.307</c:v>
                </c:pt>
                <c:pt idx="154">
                  <c:v>0.30499999999999999</c:v>
                </c:pt>
                <c:pt idx="155">
                  <c:v>0.30299999999999999</c:v>
                </c:pt>
                <c:pt idx="156">
                  <c:v>0.30099999999999999</c:v>
                </c:pt>
                <c:pt idx="157">
                  <c:v>0.16500000000000001</c:v>
                </c:pt>
                <c:pt idx="158">
                  <c:v>0.16400000000000001</c:v>
                </c:pt>
                <c:pt idx="159">
                  <c:v>0.16300000000000001</c:v>
                </c:pt>
                <c:pt idx="160">
                  <c:v>0.16200000000000001</c:v>
                </c:pt>
                <c:pt idx="161">
                  <c:v>0.08</c:v>
                </c:pt>
                <c:pt idx="162">
                  <c:v>0.08</c:v>
                </c:pt>
                <c:pt idx="163">
                  <c:v>7.9000000000000001E-2</c:v>
                </c:pt>
                <c:pt idx="164">
                  <c:v>7.9000000000000001E-2</c:v>
                </c:pt>
                <c:pt idx="165">
                  <c:v>0.10299999999999999</c:v>
                </c:pt>
                <c:pt idx="166">
                  <c:v>0.10199999999999999</c:v>
                </c:pt>
                <c:pt idx="167">
                  <c:v>0.10100000000000001</c:v>
                </c:pt>
                <c:pt idx="168">
                  <c:v>0.10100000000000001</c:v>
                </c:pt>
                <c:pt idx="169">
                  <c:v>0.1</c:v>
                </c:pt>
                <c:pt idx="170">
                  <c:v>7.5999999999999998E-2</c:v>
                </c:pt>
                <c:pt idx="171">
                  <c:v>7.5999999999999998E-2</c:v>
                </c:pt>
                <c:pt idx="172">
                  <c:v>7.4999999999999997E-2</c:v>
                </c:pt>
                <c:pt idx="173">
                  <c:v>7.4999999999999997E-2</c:v>
                </c:pt>
                <c:pt idx="174">
                  <c:v>2.8000000000000001E-2</c:v>
                </c:pt>
                <c:pt idx="175">
                  <c:v>2.8000000000000001E-2</c:v>
                </c:pt>
                <c:pt idx="176">
                  <c:v>2.8000000000000001E-2</c:v>
                </c:pt>
                <c:pt idx="177">
                  <c:v>2.8000000000000001E-2</c:v>
                </c:pt>
                <c:pt idx="178">
                  <c:v>0.11700000000000001</c:v>
                </c:pt>
                <c:pt idx="179">
                  <c:v>0.11700000000000001</c:v>
                </c:pt>
                <c:pt idx="180">
                  <c:v>0.11600000000000001</c:v>
                </c:pt>
                <c:pt idx="181">
                  <c:v>0.11600000000000001</c:v>
                </c:pt>
                <c:pt idx="182">
                  <c:v>0.115</c:v>
                </c:pt>
                <c:pt idx="183">
                  <c:v>9.1999999999999998E-2</c:v>
                </c:pt>
                <c:pt idx="184">
                  <c:v>9.1999999999999998E-2</c:v>
                </c:pt>
                <c:pt idx="185">
                  <c:v>9.0999999999999998E-2</c:v>
                </c:pt>
                <c:pt idx="186">
                  <c:v>9.0999999999999998E-2</c:v>
                </c:pt>
                <c:pt idx="187">
                  <c:v>6.9000000000000006E-2</c:v>
                </c:pt>
                <c:pt idx="188">
                  <c:v>6.9000000000000006E-2</c:v>
                </c:pt>
                <c:pt idx="189">
                  <c:v>6.8000000000000005E-2</c:v>
                </c:pt>
                <c:pt idx="190">
                  <c:v>6.8000000000000005E-2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5.0999999999999997E-2</c:v>
                </c:pt>
                <c:pt idx="197">
                  <c:v>0.05</c:v>
                </c:pt>
                <c:pt idx="198">
                  <c:v>0.05</c:v>
                </c:pt>
                <c:pt idx="199">
                  <c:v>0.05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.33800000000000002</c:v>
                </c:pt>
                <c:pt idx="205">
                  <c:v>0.33600000000000002</c:v>
                </c:pt>
                <c:pt idx="206">
                  <c:v>0.33400000000000002</c:v>
                </c:pt>
                <c:pt idx="207">
                  <c:v>0.33300000000000002</c:v>
                </c:pt>
                <c:pt idx="208">
                  <c:v>0.33100000000000002</c:v>
                </c:pt>
                <c:pt idx="209">
                  <c:v>0.2</c:v>
                </c:pt>
                <c:pt idx="210">
                  <c:v>0.2</c:v>
                </c:pt>
                <c:pt idx="211">
                  <c:v>0.19900000000000001</c:v>
                </c:pt>
                <c:pt idx="212">
                  <c:v>0.19800000000000001</c:v>
                </c:pt>
                <c:pt idx="213">
                  <c:v>0.3</c:v>
                </c:pt>
                <c:pt idx="214">
                  <c:v>0.29899999999999999</c:v>
                </c:pt>
                <c:pt idx="215">
                  <c:v>0.29699999999999999</c:v>
                </c:pt>
                <c:pt idx="216">
                  <c:v>0.29599999999999999</c:v>
                </c:pt>
                <c:pt idx="217">
                  <c:v>0.29399999999999998</c:v>
                </c:pt>
                <c:pt idx="218">
                  <c:v>0.29299999999999998</c:v>
                </c:pt>
                <c:pt idx="219">
                  <c:v>0.29199999999999998</c:v>
                </c:pt>
                <c:pt idx="220">
                  <c:v>0.28999999999999998</c:v>
                </c:pt>
                <c:pt idx="221">
                  <c:v>0.28899999999999998</c:v>
                </c:pt>
                <c:pt idx="222">
                  <c:v>0.247</c:v>
                </c:pt>
                <c:pt idx="223">
                  <c:v>0.246</c:v>
                </c:pt>
                <c:pt idx="224">
                  <c:v>0.245</c:v>
                </c:pt>
                <c:pt idx="225">
                  <c:v>0.24399999999999999</c:v>
                </c:pt>
                <c:pt idx="226">
                  <c:v>0.36199999999999999</c:v>
                </c:pt>
                <c:pt idx="227">
                  <c:v>0.36099999999999999</c:v>
                </c:pt>
                <c:pt idx="228">
                  <c:v>0.35899999999999999</c:v>
                </c:pt>
                <c:pt idx="229">
                  <c:v>0.35799999999999998</c:v>
                </c:pt>
                <c:pt idx="230">
                  <c:v>0.35599999999999998</c:v>
                </c:pt>
                <c:pt idx="231">
                  <c:v>0.39300000000000002</c:v>
                </c:pt>
                <c:pt idx="232">
                  <c:v>0.39200000000000002</c:v>
                </c:pt>
                <c:pt idx="233">
                  <c:v>0.39</c:v>
                </c:pt>
                <c:pt idx="234">
                  <c:v>0.38800000000000001</c:v>
                </c:pt>
                <c:pt idx="235">
                  <c:v>0.32700000000000001</c:v>
                </c:pt>
                <c:pt idx="236">
                  <c:v>0.32600000000000001</c:v>
                </c:pt>
                <c:pt idx="237">
                  <c:v>0.32400000000000001</c:v>
                </c:pt>
                <c:pt idx="238">
                  <c:v>0.32300000000000001</c:v>
                </c:pt>
                <c:pt idx="239">
                  <c:v>0.28399999999999997</c:v>
                </c:pt>
                <c:pt idx="240">
                  <c:v>0.28299999999999997</c:v>
                </c:pt>
                <c:pt idx="241">
                  <c:v>0.28199999999999997</c:v>
                </c:pt>
                <c:pt idx="242">
                  <c:v>0.28000000000000003</c:v>
                </c:pt>
                <c:pt idx="243">
                  <c:v>0.27900000000000003</c:v>
                </c:pt>
                <c:pt idx="244">
                  <c:v>0.22500000000000001</c:v>
                </c:pt>
                <c:pt idx="245">
                  <c:v>0.224</c:v>
                </c:pt>
                <c:pt idx="246">
                  <c:v>0.223</c:v>
                </c:pt>
                <c:pt idx="247">
                  <c:v>0.222</c:v>
                </c:pt>
                <c:pt idx="248">
                  <c:v>0.16900000000000001</c:v>
                </c:pt>
                <c:pt idx="249">
                  <c:v>0.16800000000000001</c:v>
                </c:pt>
                <c:pt idx="250">
                  <c:v>0.16800000000000001</c:v>
                </c:pt>
                <c:pt idx="251">
                  <c:v>0.16700000000000001</c:v>
                </c:pt>
                <c:pt idx="252">
                  <c:v>0.39200000000000002</c:v>
                </c:pt>
                <c:pt idx="253">
                  <c:v>0.39100000000000001</c:v>
                </c:pt>
                <c:pt idx="254">
                  <c:v>0.38900000000000001</c:v>
                </c:pt>
                <c:pt idx="255">
                  <c:v>0.38800000000000001</c:v>
                </c:pt>
                <c:pt idx="256">
                  <c:v>1.4999999999999999E-2</c:v>
                </c:pt>
                <c:pt idx="257">
                  <c:v>1.4999999999999999E-2</c:v>
                </c:pt>
                <c:pt idx="258">
                  <c:v>1.4999999999999999E-2</c:v>
                </c:pt>
                <c:pt idx="259">
                  <c:v>1.4999999999999999E-2</c:v>
                </c:pt>
                <c:pt idx="260">
                  <c:v>1.4999999999999999E-2</c:v>
                </c:pt>
                <c:pt idx="261">
                  <c:v>0.14899999999999999</c:v>
                </c:pt>
                <c:pt idx="262">
                  <c:v>0.14799999999999999</c:v>
                </c:pt>
                <c:pt idx="263">
                  <c:v>0.14799999999999999</c:v>
                </c:pt>
                <c:pt idx="264">
                  <c:v>0.14699999999999999</c:v>
                </c:pt>
                <c:pt idx="265">
                  <c:v>0.14699999999999999</c:v>
                </c:pt>
                <c:pt idx="266">
                  <c:v>0.14599999999999999</c:v>
                </c:pt>
                <c:pt idx="267">
                  <c:v>0.14599999999999999</c:v>
                </c:pt>
                <c:pt idx="268">
                  <c:v>0.14499999999999999</c:v>
                </c:pt>
                <c:pt idx="269">
                  <c:v>0.14399999999999999</c:v>
                </c:pt>
                <c:pt idx="270">
                  <c:v>0.14399999999999999</c:v>
                </c:pt>
                <c:pt idx="271">
                  <c:v>0.14299999999999999</c:v>
                </c:pt>
                <c:pt idx="272">
                  <c:v>0.14299999999999999</c:v>
                </c:pt>
                <c:pt idx="273">
                  <c:v>0.14199999999999999</c:v>
                </c:pt>
                <c:pt idx="274">
                  <c:v>0.218</c:v>
                </c:pt>
                <c:pt idx="275">
                  <c:v>0.218</c:v>
                </c:pt>
                <c:pt idx="276">
                  <c:v>0.217</c:v>
                </c:pt>
                <c:pt idx="277">
                  <c:v>0.216</c:v>
                </c:pt>
                <c:pt idx="278">
                  <c:v>0.187</c:v>
                </c:pt>
                <c:pt idx="279">
                  <c:v>0.186</c:v>
                </c:pt>
                <c:pt idx="280">
                  <c:v>0.185</c:v>
                </c:pt>
                <c:pt idx="281">
                  <c:v>0.185</c:v>
                </c:pt>
                <c:pt idx="282">
                  <c:v>0.184</c:v>
                </c:pt>
                <c:pt idx="283">
                  <c:v>6.7000000000000004E-2</c:v>
                </c:pt>
                <c:pt idx="284">
                  <c:v>6.6000000000000003E-2</c:v>
                </c:pt>
                <c:pt idx="285">
                  <c:v>6.6000000000000003E-2</c:v>
                </c:pt>
                <c:pt idx="286">
                  <c:v>6.6000000000000003E-2</c:v>
                </c:pt>
                <c:pt idx="287">
                  <c:v>6.6000000000000003E-2</c:v>
                </c:pt>
                <c:pt idx="288">
                  <c:v>8.3000000000000004E-2</c:v>
                </c:pt>
                <c:pt idx="289">
                  <c:v>8.3000000000000004E-2</c:v>
                </c:pt>
                <c:pt idx="290">
                  <c:v>8.2000000000000003E-2</c:v>
                </c:pt>
                <c:pt idx="291">
                  <c:v>0.32300000000000001</c:v>
                </c:pt>
                <c:pt idx="292">
                  <c:v>0.32100000000000001</c:v>
                </c:pt>
                <c:pt idx="293">
                  <c:v>0.32</c:v>
                </c:pt>
                <c:pt idx="294">
                  <c:v>0.31900000000000001</c:v>
                </c:pt>
                <c:pt idx="295">
                  <c:v>0.318</c:v>
                </c:pt>
                <c:pt idx="296">
                  <c:v>0.5270000000000000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99B5-4AC9-9ADD-3C277402B8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58370048"/>
        <c:axId val="-158357536"/>
      </c:lineChart>
      <c:dateAx>
        <c:axId val="-158370048"/>
        <c:scaling>
          <c:orientation val="minMax"/>
          <c:min val="45658"/>
        </c:scaling>
        <c:delete val="0"/>
        <c:axPos val="b"/>
        <c:numFmt formatCode="yyyy\-mm\-dd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58357536"/>
        <c:crosses val="autoZero"/>
        <c:auto val="1"/>
        <c:lblOffset val="100"/>
        <c:baseTimeUnit val="days"/>
      </c:dateAx>
      <c:valAx>
        <c:axId val="-158357536"/>
        <c:scaling>
          <c:orientation val="minMax"/>
          <c:max val="1"/>
        </c:scaling>
        <c:delete val="0"/>
        <c:axPos val="l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58370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7179493987640433"/>
          <c:w val="1"/>
          <c:h val="0.124717333987097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zh-CN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002353989320522"/>
          <c:y val="2.8409877668171966E-2"/>
          <c:w val="0.87624881138321542"/>
          <c:h val="0.87372086816756822"/>
        </c:manualLayout>
      </c:layout>
      <c:lineChart>
        <c:grouping val="standard"/>
        <c:varyColors val="0"/>
        <c:ser>
          <c:idx val="0"/>
          <c:order val="0"/>
          <c:tx>
            <c:strRef>
              <c:f>'指数合成-1.0'!$DD$8</c:f>
              <c:strCache>
                <c:ptCount val="1"/>
                <c:pt idx="0">
                  <c:v>地产成交</c:v>
                </c:pt>
              </c:strCache>
            </c:strRef>
          </c:tx>
          <c:spPr>
            <a:ln w="28575" cap="rnd">
              <a:solidFill>
                <a:srgbClr val="004678">
                  <a:lumMod val="60000"/>
                  <a:lumOff val="40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'指数合成-1.0'!$DC$67:$DC$371</c:f>
              <c:numCache>
                <c:formatCode>yyyy\-mm\-dd</c:formatCode>
                <c:ptCount val="305"/>
                <c:pt idx="0">
                  <c:v>43875</c:v>
                </c:pt>
                <c:pt idx="1">
                  <c:v>43882</c:v>
                </c:pt>
                <c:pt idx="2">
                  <c:v>43889</c:v>
                </c:pt>
                <c:pt idx="3">
                  <c:v>43896</c:v>
                </c:pt>
                <c:pt idx="4">
                  <c:v>43903</c:v>
                </c:pt>
                <c:pt idx="5">
                  <c:v>43910</c:v>
                </c:pt>
                <c:pt idx="6">
                  <c:v>43917</c:v>
                </c:pt>
                <c:pt idx="7">
                  <c:v>43924</c:v>
                </c:pt>
                <c:pt idx="8">
                  <c:v>43931</c:v>
                </c:pt>
                <c:pt idx="9">
                  <c:v>43938</c:v>
                </c:pt>
                <c:pt idx="10">
                  <c:v>43945</c:v>
                </c:pt>
                <c:pt idx="11">
                  <c:v>43952</c:v>
                </c:pt>
                <c:pt idx="12">
                  <c:v>43959</c:v>
                </c:pt>
                <c:pt idx="13">
                  <c:v>43966</c:v>
                </c:pt>
                <c:pt idx="14">
                  <c:v>43973</c:v>
                </c:pt>
                <c:pt idx="15">
                  <c:v>43980</c:v>
                </c:pt>
                <c:pt idx="16">
                  <c:v>43987</c:v>
                </c:pt>
                <c:pt idx="17">
                  <c:v>43994</c:v>
                </c:pt>
                <c:pt idx="18">
                  <c:v>44001</c:v>
                </c:pt>
                <c:pt idx="19">
                  <c:v>44008</c:v>
                </c:pt>
                <c:pt idx="20">
                  <c:v>44015</c:v>
                </c:pt>
                <c:pt idx="21">
                  <c:v>44022</c:v>
                </c:pt>
                <c:pt idx="22">
                  <c:v>44029</c:v>
                </c:pt>
                <c:pt idx="23">
                  <c:v>44036</c:v>
                </c:pt>
                <c:pt idx="24">
                  <c:v>44043</c:v>
                </c:pt>
                <c:pt idx="25">
                  <c:v>44050</c:v>
                </c:pt>
                <c:pt idx="26">
                  <c:v>44057</c:v>
                </c:pt>
                <c:pt idx="27">
                  <c:v>44064</c:v>
                </c:pt>
                <c:pt idx="28">
                  <c:v>44071</c:v>
                </c:pt>
                <c:pt idx="29">
                  <c:v>44078</c:v>
                </c:pt>
                <c:pt idx="30">
                  <c:v>44085</c:v>
                </c:pt>
                <c:pt idx="31">
                  <c:v>44092</c:v>
                </c:pt>
                <c:pt idx="32">
                  <c:v>44099</c:v>
                </c:pt>
                <c:pt idx="33">
                  <c:v>44106</c:v>
                </c:pt>
                <c:pt idx="34">
                  <c:v>44113</c:v>
                </c:pt>
                <c:pt idx="35">
                  <c:v>44120</c:v>
                </c:pt>
                <c:pt idx="36">
                  <c:v>44127</c:v>
                </c:pt>
                <c:pt idx="37">
                  <c:v>44134</c:v>
                </c:pt>
                <c:pt idx="38">
                  <c:v>44141</c:v>
                </c:pt>
                <c:pt idx="39">
                  <c:v>44148</c:v>
                </c:pt>
                <c:pt idx="40">
                  <c:v>44155</c:v>
                </c:pt>
                <c:pt idx="41">
                  <c:v>44162</c:v>
                </c:pt>
                <c:pt idx="42">
                  <c:v>44169</c:v>
                </c:pt>
                <c:pt idx="43">
                  <c:v>44176</c:v>
                </c:pt>
                <c:pt idx="44">
                  <c:v>44183</c:v>
                </c:pt>
                <c:pt idx="45">
                  <c:v>44190</c:v>
                </c:pt>
                <c:pt idx="46">
                  <c:v>44197</c:v>
                </c:pt>
                <c:pt idx="47">
                  <c:v>44204</c:v>
                </c:pt>
                <c:pt idx="48">
                  <c:v>44211</c:v>
                </c:pt>
                <c:pt idx="49">
                  <c:v>44218</c:v>
                </c:pt>
                <c:pt idx="50">
                  <c:v>44225</c:v>
                </c:pt>
                <c:pt idx="51">
                  <c:v>44232</c:v>
                </c:pt>
                <c:pt idx="52">
                  <c:v>44239</c:v>
                </c:pt>
                <c:pt idx="53">
                  <c:v>44246</c:v>
                </c:pt>
                <c:pt idx="54">
                  <c:v>44253</c:v>
                </c:pt>
                <c:pt idx="55">
                  <c:v>44260</c:v>
                </c:pt>
                <c:pt idx="56">
                  <c:v>44267</c:v>
                </c:pt>
                <c:pt idx="57">
                  <c:v>44274</c:v>
                </c:pt>
                <c:pt idx="58">
                  <c:v>44281</c:v>
                </c:pt>
                <c:pt idx="59">
                  <c:v>44288</c:v>
                </c:pt>
                <c:pt idx="60">
                  <c:v>44295</c:v>
                </c:pt>
                <c:pt idx="61">
                  <c:v>44302</c:v>
                </c:pt>
                <c:pt idx="62">
                  <c:v>44309</c:v>
                </c:pt>
                <c:pt idx="63">
                  <c:v>44316</c:v>
                </c:pt>
                <c:pt idx="64">
                  <c:v>44323</c:v>
                </c:pt>
                <c:pt idx="65">
                  <c:v>44330</c:v>
                </c:pt>
                <c:pt idx="66">
                  <c:v>44337</c:v>
                </c:pt>
                <c:pt idx="67">
                  <c:v>44344</c:v>
                </c:pt>
                <c:pt idx="68">
                  <c:v>44351</c:v>
                </c:pt>
                <c:pt idx="69">
                  <c:v>44358</c:v>
                </c:pt>
                <c:pt idx="70">
                  <c:v>44365</c:v>
                </c:pt>
                <c:pt idx="71">
                  <c:v>44372</c:v>
                </c:pt>
                <c:pt idx="72">
                  <c:v>44379</c:v>
                </c:pt>
                <c:pt idx="73">
                  <c:v>44386</c:v>
                </c:pt>
                <c:pt idx="74">
                  <c:v>44393</c:v>
                </c:pt>
                <c:pt idx="75">
                  <c:v>44400</c:v>
                </c:pt>
                <c:pt idx="76">
                  <c:v>44407</c:v>
                </c:pt>
                <c:pt idx="77">
                  <c:v>44414</c:v>
                </c:pt>
                <c:pt idx="78">
                  <c:v>44421</c:v>
                </c:pt>
                <c:pt idx="79">
                  <c:v>44428</c:v>
                </c:pt>
                <c:pt idx="80">
                  <c:v>44435</c:v>
                </c:pt>
                <c:pt idx="81">
                  <c:v>44442</c:v>
                </c:pt>
                <c:pt idx="82">
                  <c:v>44449</c:v>
                </c:pt>
                <c:pt idx="83">
                  <c:v>44456</c:v>
                </c:pt>
                <c:pt idx="84">
                  <c:v>44463</c:v>
                </c:pt>
                <c:pt idx="85">
                  <c:v>44470</c:v>
                </c:pt>
                <c:pt idx="86">
                  <c:v>44477</c:v>
                </c:pt>
                <c:pt idx="87">
                  <c:v>44484</c:v>
                </c:pt>
                <c:pt idx="88">
                  <c:v>44491</c:v>
                </c:pt>
                <c:pt idx="89">
                  <c:v>44498</c:v>
                </c:pt>
                <c:pt idx="90">
                  <c:v>44505</c:v>
                </c:pt>
                <c:pt idx="91">
                  <c:v>44512</c:v>
                </c:pt>
                <c:pt idx="92">
                  <c:v>44519</c:v>
                </c:pt>
                <c:pt idx="93">
                  <c:v>44526</c:v>
                </c:pt>
                <c:pt idx="94">
                  <c:v>44533</c:v>
                </c:pt>
                <c:pt idx="95">
                  <c:v>44540</c:v>
                </c:pt>
                <c:pt idx="96">
                  <c:v>44547</c:v>
                </c:pt>
                <c:pt idx="97">
                  <c:v>44554</c:v>
                </c:pt>
                <c:pt idx="98">
                  <c:v>44561</c:v>
                </c:pt>
                <c:pt idx="99">
                  <c:v>44568</c:v>
                </c:pt>
                <c:pt idx="100">
                  <c:v>44575</c:v>
                </c:pt>
                <c:pt idx="101">
                  <c:v>44582</c:v>
                </c:pt>
                <c:pt idx="102">
                  <c:v>44589</c:v>
                </c:pt>
                <c:pt idx="103">
                  <c:v>44596</c:v>
                </c:pt>
                <c:pt idx="104">
                  <c:v>44603</c:v>
                </c:pt>
                <c:pt idx="105">
                  <c:v>44610</c:v>
                </c:pt>
                <c:pt idx="106">
                  <c:v>44617</c:v>
                </c:pt>
                <c:pt idx="107">
                  <c:v>44624</c:v>
                </c:pt>
                <c:pt idx="108">
                  <c:v>44631</c:v>
                </c:pt>
                <c:pt idx="109">
                  <c:v>44638</c:v>
                </c:pt>
                <c:pt idx="110">
                  <c:v>44645</c:v>
                </c:pt>
                <c:pt idx="111">
                  <c:v>44652</c:v>
                </c:pt>
                <c:pt idx="112">
                  <c:v>44659</c:v>
                </c:pt>
                <c:pt idx="113">
                  <c:v>44666</c:v>
                </c:pt>
                <c:pt idx="114">
                  <c:v>44673</c:v>
                </c:pt>
                <c:pt idx="115">
                  <c:v>44680</c:v>
                </c:pt>
                <c:pt idx="116">
                  <c:v>44687</c:v>
                </c:pt>
                <c:pt idx="117">
                  <c:v>44694</c:v>
                </c:pt>
                <c:pt idx="118">
                  <c:v>44701</c:v>
                </c:pt>
                <c:pt idx="119">
                  <c:v>44708</c:v>
                </c:pt>
                <c:pt idx="120">
                  <c:v>44715</c:v>
                </c:pt>
                <c:pt idx="121">
                  <c:v>44722</c:v>
                </c:pt>
                <c:pt idx="122">
                  <c:v>44729</c:v>
                </c:pt>
                <c:pt idx="123">
                  <c:v>44736</c:v>
                </c:pt>
                <c:pt idx="124">
                  <c:v>44743</c:v>
                </c:pt>
                <c:pt idx="125">
                  <c:v>44750</c:v>
                </c:pt>
                <c:pt idx="126">
                  <c:v>44757</c:v>
                </c:pt>
                <c:pt idx="127">
                  <c:v>44764</c:v>
                </c:pt>
                <c:pt idx="128">
                  <c:v>44771</c:v>
                </c:pt>
                <c:pt idx="129">
                  <c:v>44778</c:v>
                </c:pt>
                <c:pt idx="130">
                  <c:v>44785</c:v>
                </c:pt>
                <c:pt idx="131">
                  <c:v>44792</c:v>
                </c:pt>
                <c:pt idx="132">
                  <c:v>44799</c:v>
                </c:pt>
                <c:pt idx="133">
                  <c:v>44806</c:v>
                </c:pt>
                <c:pt idx="134">
                  <c:v>44813</c:v>
                </c:pt>
                <c:pt idx="135">
                  <c:v>44820</c:v>
                </c:pt>
                <c:pt idx="136">
                  <c:v>44827</c:v>
                </c:pt>
                <c:pt idx="137">
                  <c:v>44834</c:v>
                </c:pt>
                <c:pt idx="138">
                  <c:v>44841</c:v>
                </c:pt>
                <c:pt idx="139">
                  <c:v>44848</c:v>
                </c:pt>
                <c:pt idx="140">
                  <c:v>44855</c:v>
                </c:pt>
                <c:pt idx="141">
                  <c:v>44862</c:v>
                </c:pt>
                <c:pt idx="142">
                  <c:v>44869</c:v>
                </c:pt>
                <c:pt idx="143">
                  <c:v>44876</c:v>
                </c:pt>
                <c:pt idx="144">
                  <c:v>44883</c:v>
                </c:pt>
                <c:pt idx="145">
                  <c:v>44890</c:v>
                </c:pt>
                <c:pt idx="146">
                  <c:v>44897</c:v>
                </c:pt>
                <c:pt idx="147">
                  <c:v>44904</c:v>
                </c:pt>
                <c:pt idx="148">
                  <c:v>44911</c:v>
                </c:pt>
                <c:pt idx="149">
                  <c:v>44918</c:v>
                </c:pt>
                <c:pt idx="150">
                  <c:v>44925</c:v>
                </c:pt>
                <c:pt idx="151">
                  <c:v>44932</c:v>
                </c:pt>
                <c:pt idx="152">
                  <c:v>44939</c:v>
                </c:pt>
                <c:pt idx="153">
                  <c:v>44946</c:v>
                </c:pt>
                <c:pt idx="154">
                  <c:v>44953</c:v>
                </c:pt>
                <c:pt idx="155">
                  <c:v>44960</c:v>
                </c:pt>
                <c:pt idx="156">
                  <c:v>44967</c:v>
                </c:pt>
                <c:pt idx="157">
                  <c:v>44974</c:v>
                </c:pt>
                <c:pt idx="158">
                  <c:v>44981</c:v>
                </c:pt>
                <c:pt idx="159">
                  <c:v>44988</c:v>
                </c:pt>
                <c:pt idx="160">
                  <c:v>44995</c:v>
                </c:pt>
                <c:pt idx="161">
                  <c:v>45002</c:v>
                </c:pt>
                <c:pt idx="162">
                  <c:v>45009</c:v>
                </c:pt>
                <c:pt idx="163">
                  <c:v>45016</c:v>
                </c:pt>
                <c:pt idx="164">
                  <c:v>45023</c:v>
                </c:pt>
                <c:pt idx="165">
                  <c:v>45030</c:v>
                </c:pt>
                <c:pt idx="166">
                  <c:v>45037</c:v>
                </c:pt>
                <c:pt idx="167">
                  <c:v>45044</c:v>
                </c:pt>
                <c:pt idx="168">
                  <c:v>45051</c:v>
                </c:pt>
                <c:pt idx="169">
                  <c:v>45058</c:v>
                </c:pt>
                <c:pt idx="170">
                  <c:v>45065</c:v>
                </c:pt>
                <c:pt idx="171">
                  <c:v>45072</c:v>
                </c:pt>
                <c:pt idx="172">
                  <c:v>45079</c:v>
                </c:pt>
                <c:pt idx="173">
                  <c:v>45086</c:v>
                </c:pt>
                <c:pt idx="174">
                  <c:v>45093</c:v>
                </c:pt>
                <c:pt idx="175">
                  <c:v>45100</c:v>
                </c:pt>
                <c:pt idx="176">
                  <c:v>45107</c:v>
                </c:pt>
                <c:pt idx="177">
                  <c:v>45114</c:v>
                </c:pt>
                <c:pt idx="178">
                  <c:v>45121</c:v>
                </c:pt>
                <c:pt idx="179">
                  <c:v>45128</c:v>
                </c:pt>
                <c:pt idx="180">
                  <c:v>45135</c:v>
                </c:pt>
                <c:pt idx="181">
                  <c:v>45142</c:v>
                </c:pt>
                <c:pt idx="182">
                  <c:v>45149</c:v>
                </c:pt>
                <c:pt idx="183">
                  <c:v>45156</c:v>
                </c:pt>
                <c:pt idx="184">
                  <c:v>45163</c:v>
                </c:pt>
                <c:pt idx="185">
                  <c:v>45170</c:v>
                </c:pt>
                <c:pt idx="186">
                  <c:v>45177</c:v>
                </c:pt>
                <c:pt idx="187">
                  <c:v>45184</c:v>
                </c:pt>
                <c:pt idx="188">
                  <c:v>45191</c:v>
                </c:pt>
                <c:pt idx="189">
                  <c:v>45198</c:v>
                </c:pt>
                <c:pt idx="190">
                  <c:v>45205</c:v>
                </c:pt>
                <c:pt idx="191">
                  <c:v>45212</c:v>
                </c:pt>
                <c:pt idx="192">
                  <c:v>45219</c:v>
                </c:pt>
                <c:pt idx="193">
                  <c:v>45226</c:v>
                </c:pt>
                <c:pt idx="194">
                  <c:v>45233</c:v>
                </c:pt>
                <c:pt idx="195">
                  <c:v>45240</c:v>
                </c:pt>
                <c:pt idx="196">
                  <c:v>45247</c:v>
                </c:pt>
                <c:pt idx="197">
                  <c:v>45254</c:v>
                </c:pt>
                <c:pt idx="198">
                  <c:v>45261</c:v>
                </c:pt>
                <c:pt idx="199">
                  <c:v>45268</c:v>
                </c:pt>
                <c:pt idx="200">
                  <c:v>45275</c:v>
                </c:pt>
                <c:pt idx="201">
                  <c:v>45282</c:v>
                </c:pt>
                <c:pt idx="202">
                  <c:v>45289</c:v>
                </c:pt>
                <c:pt idx="203">
                  <c:v>45296</c:v>
                </c:pt>
                <c:pt idx="204">
                  <c:v>45303</c:v>
                </c:pt>
                <c:pt idx="205">
                  <c:v>45310</c:v>
                </c:pt>
                <c:pt idx="206">
                  <c:v>45317</c:v>
                </c:pt>
                <c:pt idx="207">
                  <c:v>45324</c:v>
                </c:pt>
                <c:pt idx="208">
                  <c:v>45331</c:v>
                </c:pt>
                <c:pt idx="209">
                  <c:v>45338</c:v>
                </c:pt>
                <c:pt idx="210">
                  <c:v>45345</c:v>
                </c:pt>
                <c:pt idx="211">
                  <c:v>45352</c:v>
                </c:pt>
                <c:pt idx="212">
                  <c:v>45359</c:v>
                </c:pt>
                <c:pt idx="213">
                  <c:v>45366</c:v>
                </c:pt>
                <c:pt idx="214">
                  <c:v>45373</c:v>
                </c:pt>
                <c:pt idx="215">
                  <c:v>45380</c:v>
                </c:pt>
                <c:pt idx="216">
                  <c:v>45387</c:v>
                </c:pt>
                <c:pt idx="217">
                  <c:v>45394</c:v>
                </c:pt>
                <c:pt idx="218">
                  <c:v>45401</c:v>
                </c:pt>
                <c:pt idx="219">
                  <c:v>45408</c:v>
                </c:pt>
                <c:pt idx="220">
                  <c:v>45415</c:v>
                </c:pt>
                <c:pt idx="221">
                  <c:v>45422</c:v>
                </c:pt>
                <c:pt idx="222">
                  <c:v>45429</c:v>
                </c:pt>
                <c:pt idx="223">
                  <c:v>45436</c:v>
                </c:pt>
                <c:pt idx="224">
                  <c:v>45443</c:v>
                </c:pt>
                <c:pt idx="225">
                  <c:v>45450</c:v>
                </c:pt>
                <c:pt idx="226">
                  <c:v>45457</c:v>
                </c:pt>
                <c:pt idx="227">
                  <c:v>45464</c:v>
                </c:pt>
                <c:pt idx="228">
                  <c:v>45471</c:v>
                </c:pt>
                <c:pt idx="229">
                  <c:v>45478</c:v>
                </c:pt>
                <c:pt idx="230">
                  <c:v>45485</c:v>
                </c:pt>
                <c:pt idx="231">
                  <c:v>45492</c:v>
                </c:pt>
                <c:pt idx="232">
                  <c:v>45499</c:v>
                </c:pt>
                <c:pt idx="233">
                  <c:v>45506</c:v>
                </c:pt>
                <c:pt idx="234">
                  <c:v>45513</c:v>
                </c:pt>
                <c:pt idx="235">
                  <c:v>45520</c:v>
                </c:pt>
                <c:pt idx="236">
                  <c:v>45527</c:v>
                </c:pt>
                <c:pt idx="237">
                  <c:v>45534</c:v>
                </c:pt>
                <c:pt idx="238">
                  <c:v>45541</c:v>
                </c:pt>
                <c:pt idx="239">
                  <c:v>45548</c:v>
                </c:pt>
                <c:pt idx="240">
                  <c:v>45555</c:v>
                </c:pt>
                <c:pt idx="241">
                  <c:v>45562</c:v>
                </c:pt>
                <c:pt idx="242">
                  <c:v>45569</c:v>
                </c:pt>
                <c:pt idx="243">
                  <c:v>45576</c:v>
                </c:pt>
                <c:pt idx="244">
                  <c:v>45583</c:v>
                </c:pt>
                <c:pt idx="245">
                  <c:v>45590</c:v>
                </c:pt>
                <c:pt idx="246">
                  <c:v>45597</c:v>
                </c:pt>
                <c:pt idx="247">
                  <c:v>45604</c:v>
                </c:pt>
                <c:pt idx="248">
                  <c:v>45611</c:v>
                </c:pt>
                <c:pt idx="249">
                  <c:v>45618</c:v>
                </c:pt>
                <c:pt idx="250">
                  <c:v>45625</c:v>
                </c:pt>
                <c:pt idx="251">
                  <c:v>45632</c:v>
                </c:pt>
                <c:pt idx="252">
                  <c:v>45639</c:v>
                </c:pt>
                <c:pt idx="253">
                  <c:v>45646</c:v>
                </c:pt>
                <c:pt idx="254">
                  <c:v>45653</c:v>
                </c:pt>
                <c:pt idx="255">
                  <c:v>45660</c:v>
                </c:pt>
                <c:pt idx="256">
                  <c:v>45667</c:v>
                </c:pt>
                <c:pt idx="257">
                  <c:v>45674</c:v>
                </c:pt>
                <c:pt idx="258">
                  <c:v>45681</c:v>
                </c:pt>
                <c:pt idx="259">
                  <c:v>45688</c:v>
                </c:pt>
                <c:pt idx="260">
                  <c:v>45695</c:v>
                </c:pt>
                <c:pt idx="261">
                  <c:v>45702</c:v>
                </c:pt>
                <c:pt idx="262">
                  <c:v>45709</c:v>
                </c:pt>
                <c:pt idx="263">
                  <c:v>45716</c:v>
                </c:pt>
                <c:pt idx="264">
                  <c:v>45723</c:v>
                </c:pt>
                <c:pt idx="265">
                  <c:v>45730</c:v>
                </c:pt>
                <c:pt idx="266">
                  <c:v>45737</c:v>
                </c:pt>
                <c:pt idx="267">
                  <c:v>45744</c:v>
                </c:pt>
                <c:pt idx="268">
                  <c:v>45751</c:v>
                </c:pt>
                <c:pt idx="269">
                  <c:v>45758</c:v>
                </c:pt>
                <c:pt idx="270">
                  <c:v>45765</c:v>
                </c:pt>
                <c:pt idx="271">
                  <c:v>45772</c:v>
                </c:pt>
                <c:pt idx="272">
                  <c:v>45779</c:v>
                </c:pt>
                <c:pt idx="273">
                  <c:v>45786</c:v>
                </c:pt>
                <c:pt idx="274">
                  <c:v>45793</c:v>
                </c:pt>
                <c:pt idx="275">
                  <c:v>45800</c:v>
                </c:pt>
                <c:pt idx="276">
                  <c:v>45807</c:v>
                </c:pt>
                <c:pt idx="277">
                  <c:v>45814</c:v>
                </c:pt>
                <c:pt idx="278">
                  <c:v>45821</c:v>
                </c:pt>
                <c:pt idx="279">
                  <c:v>45828</c:v>
                </c:pt>
                <c:pt idx="280">
                  <c:v>45835</c:v>
                </c:pt>
                <c:pt idx="281">
                  <c:v>45842</c:v>
                </c:pt>
                <c:pt idx="282">
                  <c:v>45849</c:v>
                </c:pt>
                <c:pt idx="283">
                  <c:v>45856</c:v>
                </c:pt>
                <c:pt idx="284">
                  <c:v>45863</c:v>
                </c:pt>
                <c:pt idx="285">
                  <c:v>45870</c:v>
                </c:pt>
                <c:pt idx="286">
                  <c:v>45877</c:v>
                </c:pt>
                <c:pt idx="287">
                  <c:v>45884</c:v>
                </c:pt>
                <c:pt idx="288">
                  <c:v>45891</c:v>
                </c:pt>
                <c:pt idx="289">
                  <c:v>45898</c:v>
                </c:pt>
                <c:pt idx="290">
                  <c:v>45905</c:v>
                </c:pt>
                <c:pt idx="291">
                  <c:v>45912</c:v>
                </c:pt>
                <c:pt idx="292">
                  <c:v>45919</c:v>
                </c:pt>
                <c:pt idx="293">
                  <c:v>45926</c:v>
                </c:pt>
                <c:pt idx="294">
                  <c:v>45933</c:v>
                </c:pt>
                <c:pt idx="295">
                  <c:v>45940</c:v>
                </c:pt>
                <c:pt idx="296">
                  <c:v>45947</c:v>
                </c:pt>
                <c:pt idx="297">
                  <c:v>45954</c:v>
                </c:pt>
                <c:pt idx="298">
                  <c:v>45961</c:v>
                </c:pt>
                <c:pt idx="299">
                  <c:v>45968</c:v>
                </c:pt>
                <c:pt idx="300">
                  <c:v>45975</c:v>
                </c:pt>
                <c:pt idx="301">
                  <c:v>45982</c:v>
                </c:pt>
                <c:pt idx="302">
                  <c:v>45989</c:v>
                </c:pt>
                <c:pt idx="303">
                  <c:v>45996</c:v>
                </c:pt>
                <c:pt idx="304">
                  <c:v>46003</c:v>
                </c:pt>
              </c:numCache>
            </c:numRef>
          </c:cat>
          <c:val>
            <c:numRef>
              <c:f>'指数合成-1.0'!$DD$67:$DD$371</c:f>
              <c:numCache>
                <c:formatCode>0.0</c:formatCode>
                <c:ptCount val="305"/>
                <c:pt idx="0">
                  <c:v>-43.624848610479681</c:v>
                </c:pt>
                <c:pt idx="1">
                  <c:v>-55.018574122046815</c:v>
                </c:pt>
                <c:pt idx="2">
                  <c:v>-46.585930362518788</c:v>
                </c:pt>
                <c:pt idx="3">
                  <c:v>-44.271158050169198</c:v>
                </c:pt>
                <c:pt idx="4">
                  <c:v>-39.484143139223072</c:v>
                </c:pt>
                <c:pt idx="5">
                  <c:v>-33.036207800003382</c:v>
                </c:pt>
                <c:pt idx="6">
                  <c:v>-28.009767416357349</c:v>
                </c:pt>
                <c:pt idx="7">
                  <c:v>-23.302787504882929</c:v>
                </c:pt>
                <c:pt idx="8">
                  <c:v>-21.657157734594563</c:v>
                </c:pt>
                <c:pt idx="9">
                  <c:v>-17.209622555184239</c:v>
                </c:pt>
                <c:pt idx="10">
                  <c:v>-14.223521444839719</c:v>
                </c:pt>
                <c:pt idx="11">
                  <c:v>-8.92638341989813</c:v>
                </c:pt>
                <c:pt idx="12">
                  <c:v>-11.44722781137358</c:v>
                </c:pt>
                <c:pt idx="13">
                  <c:v>-9.7022837757683931</c:v>
                </c:pt>
                <c:pt idx="14">
                  <c:v>-4.5974315612369736</c:v>
                </c:pt>
                <c:pt idx="15">
                  <c:v>-3.6208287626471503</c:v>
                </c:pt>
                <c:pt idx="16">
                  <c:v>6.5251064694004128</c:v>
                </c:pt>
                <c:pt idx="17">
                  <c:v>8.857387506587429</c:v>
                </c:pt>
                <c:pt idx="18">
                  <c:v>7.5838342108057049</c:v>
                </c:pt>
                <c:pt idx="19">
                  <c:v>4.9015124593623938</c:v>
                </c:pt>
                <c:pt idx="20">
                  <c:v>6.814407145215398</c:v>
                </c:pt>
                <c:pt idx="21">
                  <c:v>7.2895224631624984</c:v>
                </c:pt>
                <c:pt idx="22">
                  <c:v>8.1727087928815934</c:v>
                </c:pt>
                <c:pt idx="23">
                  <c:v>11.920488381225681</c:v>
                </c:pt>
                <c:pt idx="24">
                  <c:v>9.6563979126985942</c:v>
                </c:pt>
                <c:pt idx="25">
                  <c:v>12.153797384067502</c:v>
                </c:pt>
                <c:pt idx="26">
                  <c:v>16.095409742416393</c:v>
                </c:pt>
                <c:pt idx="27">
                  <c:v>15.159054585970665</c:v>
                </c:pt>
                <c:pt idx="28">
                  <c:v>14.834295728506987</c:v>
                </c:pt>
                <c:pt idx="29">
                  <c:v>16.421171075886747</c:v>
                </c:pt>
                <c:pt idx="30">
                  <c:v>13.427307727366838</c:v>
                </c:pt>
                <c:pt idx="31">
                  <c:v>11.315730804968922</c:v>
                </c:pt>
                <c:pt idx="32">
                  <c:v>10.157284939086651</c:v>
                </c:pt>
                <c:pt idx="33">
                  <c:v>14.027641549505532</c:v>
                </c:pt>
                <c:pt idx="34">
                  <c:v>3.3664034342162807</c:v>
                </c:pt>
                <c:pt idx="35">
                  <c:v>1.7366265061191655</c:v>
                </c:pt>
                <c:pt idx="36">
                  <c:v>3.4110582959542484</c:v>
                </c:pt>
                <c:pt idx="37">
                  <c:v>0.83971030658418044</c:v>
                </c:pt>
                <c:pt idx="38">
                  <c:v>13.289914001462961</c:v>
                </c:pt>
                <c:pt idx="39">
                  <c:v>14.927092104785288</c:v>
                </c:pt>
                <c:pt idx="40">
                  <c:v>13.352231086262307</c:v>
                </c:pt>
                <c:pt idx="41">
                  <c:v>5.872557245856342</c:v>
                </c:pt>
                <c:pt idx="42">
                  <c:v>2.2423032718217542</c:v>
                </c:pt>
                <c:pt idx="43">
                  <c:v>1.1758096590402118</c:v>
                </c:pt>
                <c:pt idx="44">
                  <c:v>-1.2664516755375246</c:v>
                </c:pt>
                <c:pt idx="45">
                  <c:v>1.1382593908519283</c:v>
                </c:pt>
                <c:pt idx="46">
                  <c:v>4.5077098075172017</c:v>
                </c:pt>
                <c:pt idx="47">
                  <c:v>4.8505987476222145</c:v>
                </c:pt>
                <c:pt idx="48">
                  <c:v>8.675310809146481</c:v>
                </c:pt>
                <c:pt idx="49">
                  <c:v>15.835551708304422</c:v>
                </c:pt>
                <c:pt idx="50">
                  <c:v>44.353756447282933</c:v>
                </c:pt>
                <c:pt idx="51">
                  <c:v>100.87108441702171</c:v>
                </c:pt>
                <c:pt idx="52">
                  <c:v>169.23087823286409</c:v>
                </c:pt>
                <c:pt idx="53">
                  <c:v>185.42991212066983</c:v>
                </c:pt>
                <c:pt idx="54">
                  <c:v>117.29885198158937</c:v>
                </c:pt>
                <c:pt idx="55">
                  <c:v>70.531786747074676</c:v>
                </c:pt>
                <c:pt idx="56">
                  <c:v>59.502570842320466</c:v>
                </c:pt>
                <c:pt idx="57">
                  <c:v>69.090844287993718</c:v>
                </c:pt>
                <c:pt idx="58">
                  <c:v>58.861926359784064</c:v>
                </c:pt>
                <c:pt idx="59">
                  <c:v>50.842259807668768</c:v>
                </c:pt>
                <c:pt idx="60">
                  <c:v>45.99369013426616</c:v>
                </c:pt>
                <c:pt idx="61">
                  <c:v>40.689317821433008</c:v>
                </c:pt>
                <c:pt idx="62">
                  <c:v>35.882764934666994</c:v>
                </c:pt>
                <c:pt idx="63">
                  <c:v>30.302045303738993</c:v>
                </c:pt>
                <c:pt idx="64">
                  <c:v>25.074211874758291</c:v>
                </c:pt>
                <c:pt idx="65">
                  <c:v>21.658153684492419</c:v>
                </c:pt>
                <c:pt idx="66">
                  <c:v>17.093267418888189</c:v>
                </c:pt>
                <c:pt idx="67">
                  <c:v>6.3223966797354905</c:v>
                </c:pt>
                <c:pt idx="68">
                  <c:v>8.0302979726377828</c:v>
                </c:pt>
                <c:pt idx="69">
                  <c:v>5.5458762273635784</c:v>
                </c:pt>
                <c:pt idx="70">
                  <c:v>-0.9473701494025164</c:v>
                </c:pt>
                <c:pt idx="71">
                  <c:v>1.6375042767458012</c:v>
                </c:pt>
                <c:pt idx="72">
                  <c:v>-2.8673373156391193</c:v>
                </c:pt>
                <c:pt idx="73">
                  <c:v>-3.6855567508194298</c:v>
                </c:pt>
                <c:pt idx="74">
                  <c:v>1.5261116738714264</c:v>
                </c:pt>
                <c:pt idx="75">
                  <c:v>-0.14638995398907184</c:v>
                </c:pt>
                <c:pt idx="76">
                  <c:v>-3.8613642788688765</c:v>
                </c:pt>
                <c:pt idx="77">
                  <c:v>-9.2783518680088974</c:v>
                </c:pt>
                <c:pt idx="78">
                  <c:v>-14.576369465747447</c:v>
                </c:pt>
                <c:pt idx="79">
                  <c:v>-16.454337498241202</c:v>
                </c:pt>
                <c:pt idx="80">
                  <c:v>-17.081187671049236</c:v>
                </c:pt>
                <c:pt idx="81">
                  <c:v>-17.886020011615429</c:v>
                </c:pt>
                <c:pt idx="82">
                  <c:v>-17.653243979883698</c:v>
                </c:pt>
                <c:pt idx="83">
                  <c:v>-16.033550616926846</c:v>
                </c:pt>
                <c:pt idx="84">
                  <c:v>-20.954025859401938</c:v>
                </c:pt>
                <c:pt idx="85">
                  <c:v>-19.603661209668843</c:v>
                </c:pt>
                <c:pt idx="86">
                  <c:v>-18.827011958918618</c:v>
                </c:pt>
                <c:pt idx="87">
                  <c:v>-20.303995374027664</c:v>
                </c:pt>
                <c:pt idx="88">
                  <c:v>-16.049953201677411</c:v>
                </c:pt>
                <c:pt idx="89">
                  <c:v>-19.809921270474888</c:v>
                </c:pt>
                <c:pt idx="90">
                  <c:v>-20.252941312229126</c:v>
                </c:pt>
                <c:pt idx="91">
                  <c:v>-20.129074839442836</c:v>
                </c:pt>
                <c:pt idx="92">
                  <c:v>-17.147937789618751</c:v>
                </c:pt>
                <c:pt idx="93">
                  <c:v>-15.241814907947301</c:v>
                </c:pt>
                <c:pt idx="94">
                  <c:v>-15.594424637590677</c:v>
                </c:pt>
                <c:pt idx="95">
                  <c:v>-17.837215148749351</c:v>
                </c:pt>
                <c:pt idx="96">
                  <c:v>-18.1752322658254</c:v>
                </c:pt>
                <c:pt idx="97">
                  <c:v>-16.036961263815002</c:v>
                </c:pt>
                <c:pt idx="98">
                  <c:v>-13.240714045965305</c:v>
                </c:pt>
                <c:pt idx="99">
                  <c:v>-13.652699756136016</c:v>
                </c:pt>
                <c:pt idx="100">
                  <c:v>-13.508996047203894</c:v>
                </c:pt>
                <c:pt idx="101">
                  <c:v>-13.13288725122267</c:v>
                </c:pt>
                <c:pt idx="102">
                  <c:v>-16.929934944181113</c:v>
                </c:pt>
                <c:pt idx="103">
                  <c:v>-28.376574673037354</c:v>
                </c:pt>
                <c:pt idx="104">
                  <c:v>-31.050551471038105</c:v>
                </c:pt>
                <c:pt idx="105">
                  <c:v>-22.413600583217004</c:v>
                </c:pt>
                <c:pt idx="106">
                  <c:v>-21.11182029849661</c:v>
                </c:pt>
                <c:pt idx="107">
                  <c:v>-5.8272445307469667</c:v>
                </c:pt>
                <c:pt idx="108">
                  <c:v>-12.224365206836453</c:v>
                </c:pt>
                <c:pt idx="109">
                  <c:v>-30.441043725469541</c:v>
                </c:pt>
                <c:pt idx="110">
                  <c:v>-35.466730609212334</c:v>
                </c:pt>
                <c:pt idx="111">
                  <c:v>-37.484101699861498</c:v>
                </c:pt>
                <c:pt idx="112">
                  <c:v>-39.309889200691238</c:v>
                </c:pt>
                <c:pt idx="113">
                  <c:v>-39.984685336246628</c:v>
                </c:pt>
                <c:pt idx="114">
                  <c:v>-40.285298308567484</c:v>
                </c:pt>
                <c:pt idx="115">
                  <c:v>-41.17586443745693</c:v>
                </c:pt>
                <c:pt idx="116">
                  <c:v>-40.389596347372759</c:v>
                </c:pt>
                <c:pt idx="117">
                  <c:v>-39.547490532740305</c:v>
                </c:pt>
                <c:pt idx="118">
                  <c:v>-38.563789824071527</c:v>
                </c:pt>
                <c:pt idx="119">
                  <c:v>-35.982819246007764</c:v>
                </c:pt>
                <c:pt idx="120">
                  <c:v>-36.503277224594413</c:v>
                </c:pt>
                <c:pt idx="121">
                  <c:v>-34.09080017180159</c:v>
                </c:pt>
                <c:pt idx="122">
                  <c:v>-22.654054017183938</c:v>
                </c:pt>
                <c:pt idx="123">
                  <c:v>-13.598164629345519</c:v>
                </c:pt>
                <c:pt idx="124">
                  <c:v>-2.5520575244543693</c:v>
                </c:pt>
                <c:pt idx="125">
                  <c:v>-3.6662078388017534</c:v>
                </c:pt>
                <c:pt idx="126">
                  <c:v>-14.616972308031819</c:v>
                </c:pt>
                <c:pt idx="127">
                  <c:v>-20.669767723539138</c:v>
                </c:pt>
                <c:pt idx="128">
                  <c:v>-24.83873726584072</c:v>
                </c:pt>
                <c:pt idx="129">
                  <c:v>-19.007517114919352</c:v>
                </c:pt>
                <c:pt idx="130">
                  <c:v>-16.216105134853507</c:v>
                </c:pt>
                <c:pt idx="131">
                  <c:v>-15.019164749213971</c:v>
                </c:pt>
                <c:pt idx="132">
                  <c:v>-15.642938276975286</c:v>
                </c:pt>
                <c:pt idx="133">
                  <c:v>-15.228170700044856</c:v>
                </c:pt>
                <c:pt idx="134">
                  <c:v>-16.256033541142173</c:v>
                </c:pt>
                <c:pt idx="135">
                  <c:v>-22.230205647309802</c:v>
                </c:pt>
                <c:pt idx="136">
                  <c:v>-15.780571866339315</c:v>
                </c:pt>
                <c:pt idx="137">
                  <c:v>-7.300046917496374</c:v>
                </c:pt>
                <c:pt idx="138">
                  <c:v>-4.3346750759834407</c:v>
                </c:pt>
                <c:pt idx="139">
                  <c:v>1.5220928207282611</c:v>
                </c:pt>
                <c:pt idx="140">
                  <c:v>-5.7623606039100821</c:v>
                </c:pt>
                <c:pt idx="141">
                  <c:v>-13.757374060528889</c:v>
                </c:pt>
                <c:pt idx="142">
                  <c:v>-12.318658899183703</c:v>
                </c:pt>
                <c:pt idx="143">
                  <c:v>-13.809972186755118</c:v>
                </c:pt>
                <c:pt idx="144">
                  <c:v>-17.051156742615433</c:v>
                </c:pt>
                <c:pt idx="145">
                  <c:v>-18.34926005302377</c:v>
                </c:pt>
                <c:pt idx="146">
                  <c:v>-19.550896496475161</c:v>
                </c:pt>
                <c:pt idx="147">
                  <c:v>-15.35743687339361</c:v>
                </c:pt>
                <c:pt idx="148">
                  <c:v>-13.900640667007082</c:v>
                </c:pt>
                <c:pt idx="149">
                  <c:v>-19.167593748348324</c:v>
                </c:pt>
                <c:pt idx="150">
                  <c:v>-17.988769500572289</c:v>
                </c:pt>
                <c:pt idx="151">
                  <c:v>-15.938954731789863</c:v>
                </c:pt>
                <c:pt idx="152">
                  <c:v>-15.433026347037838</c:v>
                </c:pt>
                <c:pt idx="153">
                  <c:v>-13.860863634143399</c:v>
                </c:pt>
                <c:pt idx="154">
                  <c:v>-29.317475752061355</c:v>
                </c:pt>
                <c:pt idx="155">
                  <c:v>-27.288163209402413</c:v>
                </c:pt>
                <c:pt idx="156">
                  <c:v>-20.924550249184733</c:v>
                </c:pt>
                <c:pt idx="157">
                  <c:v>-12.610279532840636</c:v>
                </c:pt>
                <c:pt idx="158">
                  <c:v>15.541841755354653</c:v>
                </c:pt>
                <c:pt idx="159">
                  <c:v>10.647238300613253</c:v>
                </c:pt>
                <c:pt idx="160">
                  <c:v>10.346477838575538</c:v>
                </c:pt>
                <c:pt idx="161">
                  <c:v>19.733471592018972</c:v>
                </c:pt>
                <c:pt idx="162">
                  <c:v>27.064443540577159</c:v>
                </c:pt>
                <c:pt idx="163">
                  <c:v>34.515431115362645</c:v>
                </c:pt>
                <c:pt idx="164">
                  <c:v>35.124588082977084</c:v>
                </c:pt>
                <c:pt idx="165">
                  <c:v>31.789499649489102</c:v>
                </c:pt>
                <c:pt idx="166">
                  <c:v>27.307343955645649</c:v>
                </c:pt>
                <c:pt idx="167">
                  <c:v>21.884407692345292</c:v>
                </c:pt>
                <c:pt idx="168">
                  <c:v>19.337579024209447</c:v>
                </c:pt>
                <c:pt idx="169">
                  <c:v>17.64990328850385</c:v>
                </c:pt>
                <c:pt idx="170">
                  <c:v>17.474476863100733</c:v>
                </c:pt>
                <c:pt idx="171">
                  <c:v>14.086240203731151</c:v>
                </c:pt>
                <c:pt idx="172">
                  <c:v>16.320518758651076</c:v>
                </c:pt>
                <c:pt idx="173">
                  <c:v>8.7094832935451905</c:v>
                </c:pt>
                <c:pt idx="174">
                  <c:v>-4.8892854292880799</c:v>
                </c:pt>
                <c:pt idx="175">
                  <c:v>-20.315583037328267</c:v>
                </c:pt>
                <c:pt idx="176">
                  <c:v>-27.63282722821134</c:v>
                </c:pt>
                <c:pt idx="177">
                  <c:v>-28.849803550891835</c:v>
                </c:pt>
                <c:pt idx="178">
                  <c:v>-27.092504600942064</c:v>
                </c:pt>
                <c:pt idx="179">
                  <c:v>-20.630004265432831</c:v>
                </c:pt>
                <c:pt idx="180">
                  <c:v>-19.871009344649664</c:v>
                </c:pt>
                <c:pt idx="181">
                  <c:v>-19.422787398866518</c:v>
                </c:pt>
                <c:pt idx="182">
                  <c:v>-18.254356035140347</c:v>
                </c:pt>
                <c:pt idx="183">
                  <c:v>-18.032741068199968</c:v>
                </c:pt>
                <c:pt idx="184">
                  <c:v>-16.158901587682536</c:v>
                </c:pt>
                <c:pt idx="185">
                  <c:v>-14.627232383193672</c:v>
                </c:pt>
                <c:pt idx="186">
                  <c:v>-14.017517587625974</c:v>
                </c:pt>
                <c:pt idx="187">
                  <c:v>-9.2844774036392863</c:v>
                </c:pt>
                <c:pt idx="188">
                  <c:v>-10.717995856962077</c:v>
                </c:pt>
                <c:pt idx="189">
                  <c:v>-16.517705250353856</c:v>
                </c:pt>
                <c:pt idx="190">
                  <c:v>-14.584329921240297</c:v>
                </c:pt>
                <c:pt idx="191">
                  <c:v>-16.046668837769275</c:v>
                </c:pt>
                <c:pt idx="192">
                  <c:v>-12.778323338931372</c:v>
                </c:pt>
                <c:pt idx="193">
                  <c:v>-4.2234706906589281</c:v>
                </c:pt>
                <c:pt idx="194">
                  <c:v>-4.3307620187162286</c:v>
                </c:pt>
                <c:pt idx="195">
                  <c:v>-5.6066295117291958</c:v>
                </c:pt>
                <c:pt idx="196">
                  <c:v>-7.2846475896555063</c:v>
                </c:pt>
                <c:pt idx="197">
                  <c:v>-9.8830685809333971</c:v>
                </c:pt>
                <c:pt idx="198">
                  <c:v>-10.522254201973098</c:v>
                </c:pt>
                <c:pt idx="199">
                  <c:v>-11.316215638717495</c:v>
                </c:pt>
                <c:pt idx="200">
                  <c:v>-10.518333121207817</c:v>
                </c:pt>
                <c:pt idx="201">
                  <c:v>-5.1924090696876135</c:v>
                </c:pt>
                <c:pt idx="202">
                  <c:v>-5.3076812245961378</c:v>
                </c:pt>
                <c:pt idx="203">
                  <c:v>-6.8689782965143138</c:v>
                </c:pt>
                <c:pt idx="204">
                  <c:v>-12.258724382550113</c:v>
                </c:pt>
                <c:pt idx="205">
                  <c:v>-16.677029272141482</c:v>
                </c:pt>
                <c:pt idx="206">
                  <c:v>-7.1005044102486465</c:v>
                </c:pt>
                <c:pt idx="207">
                  <c:v>2.0188985297029376</c:v>
                </c:pt>
                <c:pt idx="208">
                  <c:v>2.4582848159288204</c:v>
                </c:pt>
                <c:pt idx="209">
                  <c:v>-16.514760779997985</c:v>
                </c:pt>
                <c:pt idx="210">
                  <c:v>-40.688816593425301</c:v>
                </c:pt>
                <c:pt idx="211">
                  <c:v>-49.876182692723056</c:v>
                </c:pt>
                <c:pt idx="212">
                  <c:v>-51.661561433810263</c:v>
                </c:pt>
                <c:pt idx="213">
                  <c:v>-45.602597716386263</c:v>
                </c:pt>
                <c:pt idx="214">
                  <c:v>-40.905199700517805</c:v>
                </c:pt>
                <c:pt idx="215">
                  <c:v>-36.993364899020442</c:v>
                </c:pt>
                <c:pt idx="216">
                  <c:v>-32.515306496862166</c:v>
                </c:pt>
                <c:pt idx="217">
                  <c:v>-29.836614822739421</c:v>
                </c:pt>
                <c:pt idx="218">
                  <c:v>-27.885151994575338</c:v>
                </c:pt>
                <c:pt idx="219">
                  <c:v>-29.390419643767459</c:v>
                </c:pt>
                <c:pt idx="220">
                  <c:v>-25.928595485353028</c:v>
                </c:pt>
                <c:pt idx="221">
                  <c:v>-29.171720526436971</c:v>
                </c:pt>
                <c:pt idx="222">
                  <c:v>-27.833447091262229</c:v>
                </c:pt>
                <c:pt idx="223">
                  <c:v>-25.099234372483181</c:v>
                </c:pt>
                <c:pt idx="224">
                  <c:v>-28.265791437589471</c:v>
                </c:pt>
                <c:pt idx="225">
                  <c:v>-22.646270654284223</c:v>
                </c:pt>
                <c:pt idx="226">
                  <c:v>-23.994640337938065</c:v>
                </c:pt>
                <c:pt idx="227">
                  <c:v>-19.765357857360527</c:v>
                </c:pt>
                <c:pt idx="228">
                  <c:v>-18.361727547490489</c:v>
                </c:pt>
                <c:pt idx="229">
                  <c:v>-10.047349021132575</c:v>
                </c:pt>
                <c:pt idx="230">
                  <c:v>-4.6862300509409636</c:v>
                </c:pt>
                <c:pt idx="231">
                  <c:v>-6.4324214195516731</c:v>
                </c:pt>
                <c:pt idx="232">
                  <c:v>-5.1088628296119367</c:v>
                </c:pt>
                <c:pt idx="233">
                  <c:v>-12.3122518213749</c:v>
                </c:pt>
                <c:pt idx="234">
                  <c:v>-13.048333238877589</c:v>
                </c:pt>
                <c:pt idx="235">
                  <c:v>-12.761484406140838</c:v>
                </c:pt>
                <c:pt idx="236">
                  <c:v>-11.317004404874794</c:v>
                </c:pt>
                <c:pt idx="237">
                  <c:v>-17.074367064776169</c:v>
                </c:pt>
                <c:pt idx="238">
                  <c:v>-16.879207356362542</c:v>
                </c:pt>
                <c:pt idx="239">
                  <c:v>-18.746666455828986</c:v>
                </c:pt>
                <c:pt idx="240">
                  <c:v>-25.488952593683777</c:v>
                </c:pt>
                <c:pt idx="241">
                  <c:v>-26.380557122140644</c:v>
                </c:pt>
                <c:pt idx="242">
                  <c:v>-19.614723656416302</c:v>
                </c:pt>
                <c:pt idx="243">
                  <c:v>-21.156235274311342</c:v>
                </c:pt>
                <c:pt idx="244">
                  <c:v>-10.099005523298416</c:v>
                </c:pt>
                <c:pt idx="245">
                  <c:v>-3.9611267280878621</c:v>
                </c:pt>
                <c:pt idx="246">
                  <c:v>-5.8414045528017056</c:v>
                </c:pt>
                <c:pt idx="247">
                  <c:v>4.2668092359745771</c:v>
                </c:pt>
                <c:pt idx="248">
                  <c:v>4.8817312052313042</c:v>
                </c:pt>
                <c:pt idx="249">
                  <c:v>10.688675792083586</c:v>
                </c:pt>
                <c:pt idx="250">
                  <c:v>10.726904389685259</c:v>
                </c:pt>
                <c:pt idx="251">
                  <c:v>13.29020702557608</c:v>
                </c:pt>
                <c:pt idx="252">
                  <c:v>14.847140217826677</c:v>
                </c:pt>
                <c:pt idx="253">
                  <c:v>13.881465598447235</c:v>
                </c:pt>
                <c:pt idx="254">
                  <c:v>10.777990336072364</c:v>
                </c:pt>
                <c:pt idx="255">
                  <c:v>13.568663196661618</c:v>
                </c:pt>
                <c:pt idx="256">
                  <c:v>12.416633075403766</c:v>
                </c:pt>
                <c:pt idx="257">
                  <c:v>11.851704994394055</c:v>
                </c:pt>
                <c:pt idx="258">
                  <c:v>13.039555609929266</c:v>
                </c:pt>
                <c:pt idx="259">
                  <c:v>-11.311965918761345</c:v>
                </c:pt>
                <c:pt idx="260">
                  <c:v>-18.659117963259149</c:v>
                </c:pt>
                <c:pt idx="261">
                  <c:v>-10.803995474487422</c:v>
                </c:pt>
                <c:pt idx="262">
                  <c:v>-4.7867078145362427</c:v>
                </c:pt>
                <c:pt idx="263">
                  <c:v>21.258913268267364</c:v>
                </c:pt>
                <c:pt idx="264">
                  <c:v>31.58870538702584</c:v>
                </c:pt>
                <c:pt idx="265">
                  <c:v>16.42770741373279</c:v>
                </c:pt>
                <c:pt idx="266">
                  <c:v>8.1957199326919437</c:v>
                </c:pt>
                <c:pt idx="267">
                  <c:v>-0.85570299521097581</c:v>
                </c:pt>
                <c:pt idx="268">
                  <c:v>0.7122913862120015</c:v>
                </c:pt>
                <c:pt idx="269">
                  <c:v>-3.6020163108474605</c:v>
                </c:pt>
                <c:pt idx="270">
                  <c:v>-5.7472245036599219</c:v>
                </c:pt>
                <c:pt idx="271">
                  <c:v>-6.3243940704640522</c:v>
                </c:pt>
                <c:pt idx="272">
                  <c:v>-7.4402907824647997</c:v>
                </c:pt>
                <c:pt idx="273">
                  <c:v>-4.795386903841532</c:v>
                </c:pt>
                <c:pt idx="274">
                  <c:v>-3.5521599075292016</c:v>
                </c:pt>
                <c:pt idx="275">
                  <c:v>-0.46713817992868201</c:v>
                </c:pt>
                <c:pt idx="276">
                  <c:v>-4.0254931156393496</c:v>
                </c:pt>
                <c:pt idx="277">
                  <c:v>-5.0474317272608715</c:v>
                </c:pt>
                <c:pt idx="278">
                  <c:v>-2.9200320058170348</c:v>
                </c:pt>
                <c:pt idx="279">
                  <c:v>-4.3349794981281491</c:v>
                </c:pt>
                <c:pt idx="280">
                  <c:v>-6.848620723052818</c:v>
                </c:pt>
                <c:pt idx="281">
                  <c:v>-6.1677759930862095</c:v>
                </c:pt>
                <c:pt idx="282">
                  <c:v>-9.0526063903205056</c:v>
                </c:pt>
                <c:pt idx="283">
                  <c:v>-10.642261756234802</c:v>
                </c:pt>
                <c:pt idx="284">
                  <c:v>-8.9695052092393439</c:v>
                </c:pt>
                <c:pt idx="285">
                  <c:v>-10.523139064348214</c:v>
                </c:pt>
                <c:pt idx="286">
                  <c:v>-9.5490027914949565</c:v>
                </c:pt>
                <c:pt idx="287">
                  <c:v>-7.2030155024899329</c:v>
                </c:pt>
                <c:pt idx="288">
                  <c:v>-8.3368197920738965</c:v>
                </c:pt>
                <c:pt idx="289">
                  <c:v>-5.0566193037126226</c:v>
                </c:pt>
                <c:pt idx="290">
                  <c:v>-2.3349636613155695</c:v>
                </c:pt>
                <c:pt idx="291">
                  <c:v>-0.15110844238546406</c:v>
                </c:pt>
                <c:pt idx="292">
                  <c:v>5.6476406179620966</c:v>
                </c:pt>
                <c:pt idx="293">
                  <c:v>4.2031669319626985</c:v>
                </c:pt>
                <c:pt idx="294">
                  <c:v>4.3912410932260997</c:v>
                </c:pt>
                <c:pt idx="295">
                  <c:v>-3.1668646767248845</c:v>
                </c:pt>
                <c:pt idx="296">
                  <c:v>-9.8221284451674649</c:v>
                </c:pt>
                <c:pt idx="297">
                  <c:v>-12.67074708134858</c:v>
                </c:pt>
                <c:pt idx="298">
                  <c:v>-20.163951984435741</c:v>
                </c:pt>
                <c:pt idx="299">
                  <c:v>-21.027503433186951</c:v>
                </c:pt>
                <c:pt idx="300">
                  <c:v>-21.99645421039591</c:v>
                </c:pt>
                <c:pt idx="301">
                  <c:v>-22.647123304659871</c:v>
                </c:pt>
                <c:pt idx="302">
                  <c:v>-22.425538590445328</c:v>
                </c:pt>
                <c:pt idx="303">
                  <c:v>-21.292948554592584</c:v>
                </c:pt>
                <c:pt idx="304">
                  <c:v>-23.167762817567706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A15F-4465-BB40-C6A6CC259C8C}"/>
            </c:ext>
          </c:extLst>
        </c:ser>
        <c:ser>
          <c:idx val="4"/>
          <c:order val="3"/>
          <c:tx>
            <c:strRef>
              <c:f>'指数合成-1.0'!$DH$8</c:f>
              <c:strCache>
                <c:ptCount val="1"/>
                <c:pt idx="0">
                  <c:v>消费</c:v>
                </c:pt>
              </c:strCache>
            </c:strRef>
          </c:tx>
          <c:spPr>
            <a:ln w="28575" cap="rnd">
              <a:solidFill>
                <a:srgbClr val="DCB464"/>
              </a:solidFill>
              <a:round/>
            </a:ln>
            <a:effectLst/>
          </c:spPr>
          <c:marker>
            <c:symbol val="none"/>
          </c:marker>
          <c:cat>
            <c:numRef>
              <c:f>'指数合成-1.0'!$DC$67:$DC$371</c:f>
              <c:numCache>
                <c:formatCode>yyyy\-mm\-dd</c:formatCode>
                <c:ptCount val="305"/>
                <c:pt idx="0">
                  <c:v>43875</c:v>
                </c:pt>
                <c:pt idx="1">
                  <c:v>43882</c:v>
                </c:pt>
                <c:pt idx="2">
                  <c:v>43889</c:v>
                </c:pt>
                <c:pt idx="3">
                  <c:v>43896</c:v>
                </c:pt>
                <c:pt idx="4">
                  <c:v>43903</c:v>
                </c:pt>
                <c:pt idx="5">
                  <c:v>43910</c:v>
                </c:pt>
                <c:pt idx="6">
                  <c:v>43917</c:v>
                </c:pt>
                <c:pt idx="7">
                  <c:v>43924</c:v>
                </c:pt>
                <c:pt idx="8">
                  <c:v>43931</c:v>
                </c:pt>
                <c:pt idx="9">
                  <c:v>43938</c:v>
                </c:pt>
                <c:pt idx="10">
                  <c:v>43945</c:v>
                </c:pt>
                <c:pt idx="11">
                  <c:v>43952</c:v>
                </c:pt>
                <c:pt idx="12">
                  <c:v>43959</c:v>
                </c:pt>
                <c:pt idx="13">
                  <c:v>43966</c:v>
                </c:pt>
                <c:pt idx="14">
                  <c:v>43973</c:v>
                </c:pt>
                <c:pt idx="15">
                  <c:v>43980</c:v>
                </c:pt>
                <c:pt idx="16">
                  <c:v>43987</c:v>
                </c:pt>
                <c:pt idx="17">
                  <c:v>43994</c:v>
                </c:pt>
                <c:pt idx="18">
                  <c:v>44001</c:v>
                </c:pt>
                <c:pt idx="19">
                  <c:v>44008</c:v>
                </c:pt>
                <c:pt idx="20">
                  <c:v>44015</c:v>
                </c:pt>
                <c:pt idx="21">
                  <c:v>44022</c:v>
                </c:pt>
                <c:pt idx="22">
                  <c:v>44029</c:v>
                </c:pt>
                <c:pt idx="23">
                  <c:v>44036</c:v>
                </c:pt>
                <c:pt idx="24">
                  <c:v>44043</c:v>
                </c:pt>
                <c:pt idx="25">
                  <c:v>44050</c:v>
                </c:pt>
                <c:pt idx="26">
                  <c:v>44057</c:v>
                </c:pt>
                <c:pt idx="27">
                  <c:v>44064</c:v>
                </c:pt>
                <c:pt idx="28">
                  <c:v>44071</c:v>
                </c:pt>
                <c:pt idx="29">
                  <c:v>44078</c:v>
                </c:pt>
                <c:pt idx="30">
                  <c:v>44085</c:v>
                </c:pt>
                <c:pt idx="31">
                  <c:v>44092</c:v>
                </c:pt>
                <c:pt idx="32">
                  <c:v>44099</c:v>
                </c:pt>
                <c:pt idx="33">
                  <c:v>44106</c:v>
                </c:pt>
                <c:pt idx="34">
                  <c:v>44113</c:v>
                </c:pt>
                <c:pt idx="35">
                  <c:v>44120</c:v>
                </c:pt>
                <c:pt idx="36">
                  <c:v>44127</c:v>
                </c:pt>
                <c:pt idx="37">
                  <c:v>44134</c:v>
                </c:pt>
                <c:pt idx="38">
                  <c:v>44141</c:v>
                </c:pt>
                <c:pt idx="39">
                  <c:v>44148</c:v>
                </c:pt>
                <c:pt idx="40">
                  <c:v>44155</c:v>
                </c:pt>
                <c:pt idx="41">
                  <c:v>44162</c:v>
                </c:pt>
                <c:pt idx="42">
                  <c:v>44169</c:v>
                </c:pt>
                <c:pt idx="43">
                  <c:v>44176</c:v>
                </c:pt>
                <c:pt idx="44">
                  <c:v>44183</c:v>
                </c:pt>
                <c:pt idx="45">
                  <c:v>44190</c:v>
                </c:pt>
                <c:pt idx="46">
                  <c:v>44197</c:v>
                </c:pt>
                <c:pt idx="47">
                  <c:v>44204</c:v>
                </c:pt>
                <c:pt idx="48">
                  <c:v>44211</c:v>
                </c:pt>
                <c:pt idx="49">
                  <c:v>44218</c:v>
                </c:pt>
                <c:pt idx="50">
                  <c:v>44225</c:v>
                </c:pt>
                <c:pt idx="51">
                  <c:v>44232</c:v>
                </c:pt>
                <c:pt idx="52">
                  <c:v>44239</c:v>
                </c:pt>
                <c:pt idx="53">
                  <c:v>44246</c:v>
                </c:pt>
                <c:pt idx="54">
                  <c:v>44253</c:v>
                </c:pt>
                <c:pt idx="55">
                  <c:v>44260</c:v>
                </c:pt>
                <c:pt idx="56">
                  <c:v>44267</c:v>
                </c:pt>
                <c:pt idx="57">
                  <c:v>44274</c:v>
                </c:pt>
                <c:pt idx="58">
                  <c:v>44281</c:v>
                </c:pt>
                <c:pt idx="59">
                  <c:v>44288</c:v>
                </c:pt>
                <c:pt idx="60">
                  <c:v>44295</c:v>
                </c:pt>
                <c:pt idx="61">
                  <c:v>44302</c:v>
                </c:pt>
                <c:pt idx="62">
                  <c:v>44309</c:v>
                </c:pt>
                <c:pt idx="63">
                  <c:v>44316</c:v>
                </c:pt>
                <c:pt idx="64">
                  <c:v>44323</c:v>
                </c:pt>
                <c:pt idx="65">
                  <c:v>44330</c:v>
                </c:pt>
                <c:pt idx="66">
                  <c:v>44337</c:v>
                </c:pt>
                <c:pt idx="67">
                  <c:v>44344</c:v>
                </c:pt>
                <c:pt idx="68">
                  <c:v>44351</c:v>
                </c:pt>
                <c:pt idx="69">
                  <c:v>44358</c:v>
                </c:pt>
                <c:pt idx="70">
                  <c:v>44365</c:v>
                </c:pt>
                <c:pt idx="71">
                  <c:v>44372</c:v>
                </c:pt>
                <c:pt idx="72">
                  <c:v>44379</c:v>
                </c:pt>
                <c:pt idx="73">
                  <c:v>44386</c:v>
                </c:pt>
                <c:pt idx="74">
                  <c:v>44393</c:v>
                </c:pt>
                <c:pt idx="75">
                  <c:v>44400</c:v>
                </c:pt>
                <c:pt idx="76">
                  <c:v>44407</c:v>
                </c:pt>
                <c:pt idx="77">
                  <c:v>44414</c:v>
                </c:pt>
                <c:pt idx="78">
                  <c:v>44421</c:v>
                </c:pt>
                <c:pt idx="79">
                  <c:v>44428</c:v>
                </c:pt>
                <c:pt idx="80">
                  <c:v>44435</c:v>
                </c:pt>
                <c:pt idx="81">
                  <c:v>44442</c:v>
                </c:pt>
                <c:pt idx="82">
                  <c:v>44449</c:v>
                </c:pt>
                <c:pt idx="83">
                  <c:v>44456</c:v>
                </c:pt>
                <c:pt idx="84">
                  <c:v>44463</c:v>
                </c:pt>
                <c:pt idx="85">
                  <c:v>44470</c:v>
                </c:pt>
                <c:pt idx="86">
                  <c:v>44477</c:v>
                </c:pt>
                <c:pt idx="87">
                  <c:v>44484</c:v>
                </c:pt>
                <c:pt idx="88">
                  <c:v>44491</c:v>
                </c:pt>
                <c:pt idx="89">
                  <c:v>44498</c:v>
                </c:pt>
                <c:pt idx="90">
                  <c:v>44505</c:v>
                </c:pt>
                <c:pt idx="91">
                  <c:v>44512</c:v>
                </c:pt>
                <c:pt idx="92">
                  <c:v>44519</c:v>
                </c:pt>
                <c:pt idx="93">
                  <c:v>44526</c:v>
                </c:pt>
                <c:pt idx="94">
                  <c:v>44533</c:v>
                </c:pt>
                <c:pt idx="95">
                  <c:v>44540</c:v>
                </c:pt>
                <c:pt idx="96">
                  <c:v>44547</c:v>
                </c:pt>
                <c:pt idx="97">
                  <c:v>44554</c:v>
                </c:pt>
                <c:pt idx="98">
                  <c:v>44561</c:v>
                </c:pt>
                <c:pt idx="99">
                  <c:v>44568</c:v>
                </c:pt>
                <c:pt idx="100">
                  <c:v>44575</c:v>
                </c:pt>
                <c:pt idx="101">
                  <c:v>44582</c:v>
                </c:pt>
                <c:pt idx="102">
                  <c:v>44589</c:v>
                </c:pt>
                <c:pt idx="103">
                  <c:v>44596</c:v>
                </c:pt>
                <c:pt idx="104">
                  <c:v>44603</c:v>
                </c:pt>
                <c:pt idx="105">
                  <c:v>44610</c:v>
                </c:pt>
                <c:pt idx="106">
                  <c:v>44617</c:v>
                </c:pt>
                <c:pt idx="107">
                  <c:v>44624</c:v>
                </c:pt>
                <c:pt idx="108">
                  <c:v>44631</c:v>
                </c:pt>
                <c:pt idx="109">
                  <c:v>44638</c:v>
                </c:pt>
                <c:pt idx="110">
                  <c:v>44645</c:v>
                </c:pt>
                <c:pt idx="111">
                  <c:v>44652</c:v>
                </c:pt>
                <c:pt idx="112">
                  <c:v>44659</c:v>
                </c:pt>
                <c:pt idx="113">
                  <c:v>44666</c:v>
                </c:pt>
                <c:pt idx="114">
                  <c:v>44673</c:v>
                </c:pt>
                <c:pt idx="115">
                  <c:v>44680</c:v>
                </c:pt>
                <c:pt idx="116">
                  <c:v>44687</c:v>
                </c:pt>
                <c:pt idx="117">
                  <c:v>44694</c:v>
                </c:pt>
                <c:pt idx="118">
                  <c:v>44701</c:v>
                </c:pt>
                <c:pt idx="119">
                  <c:v>44708</c:v>
                </c:pt>
                <c:pt idx="120">
                  <c:v>44715</c:v>
                </c:pt>
                <c:pt idx="121">
                  <c:v>44722</c:v>
                </c:pt>
                <c:pt idx="122">
                  <c:v>44729</c:v>
                </c:pt>
                <c:pt idx="123">
                  <c:v>44736</c:v>
                </c:pt>
                <c:pt idx="124">
                  <c:v>44743</c:v>
                </c:pt>
                <c:pt idx="125">
                  <c:v>44750</c:v>
                </c:pt>
                <c:pt idx="126">
                  <c:v>44757</c:v>
                </c:pt>
                <c:pt idx="127">
                  <c:v>44764</c:v>
                </c:pt>
                <c:pt idx="128">
                  <c:v>44771</c:v>
                </c:pt>
                <c:pt idx="129">
                  <c:v>44778</c:v>
                </c:pt>
                <c:pt idx="130">
                  <c:v>44785</c:v>
                </c:pt>
                <c:pt idx="131">
                  <c:v>44792</c:v>
                </c:pt>
                <c:pt idx="132">
                  <c:v>44799</c:v>
                </c:pt>
                <c:pt idx="133">
                  <c:v>44806</c:v>
                </c:pt>
                <c:pt idx="134">
                  <c:v>44813</c:v>
                </c:pt>
                <c:pt idx="135">
                  <c:v>44820</c:v>
                </c:pt>
                <c:pt idx="136">
                  <c:v>44827</c:v>
                </c:pt>
                <c:pt idx="137">
                  <c:v>44834</c:v>
                </c:pt>
                <c:pt idx="138">
                  <c:v>44841</c:v>
                </c:pt>
                <c:pt idx="139">
                  <c:v>44848</c:v>
                </c:pt>
                <c:pt idx="140">
                  <c:v>44855</c:v>
                </c:pt>
                <c:pt idx="141">
                  <c:v>44862</c:v>
                </c:pt>
                <c:pt idx="142">
                  <c:v>44869</c:v>
                </c:pt>
                <c:pt idx="143">
                  <c:v>44876</c:v>
                </c:pt>
                <c:pt idx="144">
                  <c:v>44883</c:v>
                </c:pt>
                <c:pt idx="145">
                  <c:v>44890</c:v>
                </c:pt>
                <c:pt idx="146">
                  <c:v>44897</c:v>
                </c:pt>
                <c:pt idx="147">
                  <c:v>44904</c:v>
                </c:pt>
                <c:pt idx="148">
                  <c:v>44911</c:v>
                </c:pt>
                <c:pt idx="149">
                  <c:v>44918</c:v>
                </c:pt>
                <c:pt idx="150">
                  <c:v>44925</c:v>
                </c:pt>
                <c:pt idx="151">
                  <c:v>44932</c:v>
                </c:pt>
                <c:pt idx="152">
                  <c:v>44939</c:v>
                </c:pt>
                <c:pt idx="153">
                  <c:v>44946</c:v>
                </c:pt>
                <c:pt idx="154">
                  <c:v>44953</c:v>
                </c:pt>
                <c:pt idx="155">
                  <c:v>44960</c:v>
                </c:pt>
                <c:pt idx="156">
                  <c:v>44967</c:v>
                </c:pt>
                <c:pt idx="157">
                  <c:v>44974</c:v>
                </c:pt>
                <c:pt idx="158">
                  <c:v>44981</c:v>
                </c:pt>
                <c:pt idx="159">
                  <c:v>44988</c:v>
                </c:pt>
                <c:pt idx="160">
                  <c:v>44995</c:v>
                </c:pt>
                <c:pt idx="161">
                  <c:v>45002</c:v>
                </c:pt>
                <c:pt idx="162">
                  <c:v>45009</c:v>
                </c:pt>
                <c:pt idx="163">
                  <c:v>45016</c:v>
                </c:pt>
                <c:pt idx="164">
                  <c:v>45023</c:v>
                </c:pt>
                <c:pt idx="165">
                  <c:v>45030</c:v>
                </c:pt>
                <c:pt idx="166">
                  <c:v>45037</c:v>
                </c:pt>
                <c:pt idx="167">
                  <c:v>45044</c:v>
                </c:pt>
                <c:pt idx="168">
                  <c:v>45051</c:v>
                </c:pt>
                <c:pt idx="169">
                  <c:v>45058</c:v>
                </c:pt>
                <c:pt idx="170">
                  <c:v>45065</c:v>
                </c:pt>
                <c:pt idx="171">
                  <c:v>45072</c:v>
                </c:pt>
                <c:pt idx="172">
                  <c:v>45079</c:v>
                </c:pt>
                <c:pt idx="173">
                  <c:v>45086</c:v>
                </c:pt>
                <c:pt idx="174">
                  <c:v>45093</c:v>
                </c:pt>
                <c:pt idx="175">
                  <c:v>45100</c:v>
                </c:pt>
                <c:pt idx="176">
                  <c:v>45107</c:v>
                </c:pt>
                <c:pt idx="177">
                  <c:v>45114</c:v>
                </c:pt>
                <c:pt idx="178">
                  <c:v>45121</c:v>
                </c:pt>
                <c:pt idx="179">
                  <c:v>45128</c:v>
                </c:pt>
                <c:pt idx="180">
                  <c:v>45135</c:v>
                </c:pt>
                <c:pt idx="181">
                  <c:v>45142</c:v>
                </c:pt>
                <c:pt idx="182">
                  <c:v>45149</c:v>
                </c:pt>
                <c:pt idx="183">
                  <c:v>45156</c:v>
                </c:pt>
                <c:pt idx="184">
                  <c:v>45163</c:v>
                </c:pt>
                <c:pt idx="185">
                  <c:v>45170</c:v>
                </c:pt>
                <c:pt idx="186">
                  <c:v>45177</c:v>
                </c:pt>
                <c:pt idx="187">
                  <c:v>45184</c:v>
                </c:pt>
                <c:pt idx="188">
                  <c:v>45191</c:v>
                </c:pt>
                <c:pt idx="189">
                  <c:v>45198</c:v>
                </c:pt>
                <c:pt idx="190">
                  <c:v>45205</c:v>
                </c:pt>
                <c:pt idx="191">
                  <c:v>45212</c:v>
                </c:pt>
                <c:pt idx="192">
                  <c:v>45219</c:v>
                </c:pt>
                <c:pt idx="193">
                  <c:v>45226</c:v>
                </c:pt>
                <c:pt idx="194">
                  <c:v>45233</c:v>
                </c:pt>
                <c:pt idx="195">
                  <c:v>45240</c:v>
                </c:pt>
                <c:pt idx="196">
                  <c:v>45247</c:v>
                </c:pt>
                <c:pt idx="197">
                  <c:v>45254</c:v>
                </c:pt>
                <c:pt idx="198">
                  <c:v>45261</c:v>
                </c:pt>
                <c:pt idx="199">
                  <c:v>45268</c:v>
                </c:pt>
                <c:pt idx="200">
                  <c:v>45275</c:v>
                </c:pt>
                <c:pt idx="201">
                  <c:v>45282</c:v>
                </c:pt>
                <c:pt idx="202">
                  <c:v>45289</c:v>
                </c:pt>
                <c:pt idx="203">
                  <c:v>45296</c:v>
                </c:pt>
                <c:pt idx="204">
                  <c:v>45303</c:v>
                </c:pt>
                <c:pt idx="205">
                  <c:v>45310</c:v>
                </c:pt>
                <c:pt idx="206">
                  <c:v>45317</c:v>
                </c:pt>
                <c:pt idx="207">
                  <c:v>45324</c:v>
                </c:pt>
                <c:pt idx="208">
                  <c:v>45331</c:v>
                </c:pt>
                <c:pt idx="209">
                  <c:v>45338</c:v>
                </c:pt>
                <c:pt idx="210">
                  <c:v>45345</c:v>
                </c:pt>
                <c:pt idx="211">
                  <c:v>45352</c:v>
                </c:pt>
                <c:pt idx="212">
                  <c:v>45359</c:v>
                </c:pt>
                <c:pt idx="213">
                  <c:v>45366</c:v>
                </c:pt>
                <c:pt idx="214">
                  <c:v>45373</c:v>
                </c:pt>
                <c:pt idx="215">
                  <c:v>45380</c:v>
                </c:pt>
                <c:pt idx="216">
                  <c:v>45387</c:v>
                </c:pt>
                <c:pt idx="217">
                  <c:v>45394</c:v>
                </c:pt>
                <c:pt idx="218">
                  <c:v>45401</c:v>
                </c:pt>
                <c:pt idx="219">
                  <c:v>45408</c:v>
                </c:pt>
                <c:pt idx="220">
                  <c:v>45415</c:v>
                </c:pt>
                <c:pt idx="221">
                  <c:v>45422</c:v>
                </c:pt>
                <c:pt idx="222">
                  <c:v>45429</c:v>
                </c:pt>
                <c:pt idx="223">
                  <c:v>45436</c:v>
                </c:pt>
                <c:pt idx="224">
                  <c:v>45443</c:v>
                </c:pt>
                <c:pt idx="225">
                  <c:v>45450</c:v>
                </c:pt>
                <c:pt idx="226">
                  <c:v>45457</c:v>
                </c:pt>
                <c:pt idx="227">
                  <c:v>45464</c:v>
                </c:pt>
                <c:pt idx="228">
                  <c:v>45471</c:v>
                </c:pt>
                <c:pt idx="229">
                  <c:v>45478</c:v>
                </c:pt>
                <c:pt idx="230">
                  <c:v>45485</c:v>
                </c:pt>
                <c:pt idx="231">
                  <c:v>45492</c:v>
                </c:pt>
                <c:pt idx="232">
                  <c:v>45499</c:v>
                </c:pt>
                <c:pt idx="233">
                  <c:v>45506</c:v>
                </c:pt>
                <c:pt idx="234">
                  <c:v>45513</c:v>
                </c:pt>
                <c:pt idx="235">
                  <c:v>45520</c:v>
                </c:pt>
                <c:pt idx="236">
                  <c:v>45527</c:v>
                </c:pt>
                <c:pt idx="237">
                  <c:v>45534</c:v>
                </c:pt>
                <c:pt idx="238">
                  <c:v>45541</c:v>
                </c:pt>
                <c:pt idx="239">
                  <c:v>45548</c:v>
                </c:pt>
                <c:pt idx="240">
                  <c:v>45555</c:v>
                </c:pt>
                <c:pt idx="241">
                  <c:v>45562</c:v>
                </c:pt>
                <c:pt idx="242">
                  <c:v>45569</c:v>
                </c:pt>
                <c:pt idx="243">
                  <c:v>45576</c:v>
                </c:pt>
                <c:pt idx="244">
                  <c:v>45583</c:v>
                </c:pt>
                <c:pt idx="245">
                  <c:v>45590</c:v>
                </c:pt>
                <c:pt idx="246">
                  <c:v>45597</c:v>
                </c:pt>
                <c:pt idx="247">
                  <c:v>45604</c:v>
                </c:pt>
                <c:pt idx="248">
                  <c:v>45611</c:v>
                </c:pt>
                <c:pt idx="249">
                  <c:v>45618</c:v>
                </c:pt>
                <c:pt idx="250">
                  <c:v>45625</c:v>
                </c:pt>
                <c:pt idx="251">
                  <c:v>45632</c:v>
                </c:pt>
                <c:pt idx="252">
                  <c:v>45639</c:v>
                </c:pt>
                <c:pt idx="253">
                  <c:v>45646</c:v>
                </c:pt>
                <c:pt idx="254">
                  <c:v>45653</c:v>
                </c:pt>
                <c:pt idx="255">
                  <c:v>45660</c:v>
                </c:pt>
                <c:pt idx="256">
                  <c:v>45667</c:v>
                </c:pt>
                <c:pt idx="257">
                  <c:v>45674</c:v>
                </c:pt>
                <c:pt idx="258">
                  <c:v>45681</c:v>
                </c:pt>
                <c:pt idx="259">
                  <c:v>45688</c:v>
                </c:pt>
                <c:pt idx="260">
                  <c:v>45695</c:v>
                </c:pt>
                <c:pt idx="261">
                  <c:v>45702</c:v>
                </c:pt>
                <c:pt idx="262">
                  <c:v>45709</c:v>
                </c:pt>
                <c:pt idx="263">
                  <c:v>45716</c:v>
                </c:pt>
                <c:pt idx="264">
                  <c:v>45723</c:v>
                </c:pt>
                <c:pt idx="265">
                  <c:v>45730</c:v>
                </c:pt>
                <c:pt idx="266">
                  <c:v>45737</c:v>
                </c:pt>
                <c:pt idx="267">
                  <c:v>45744</c:v>
                </c:pt>
                <c:pt idx="268">
                  <c:v>45751</c:v>
                </c:pt>
                <c:pt idx="269">
                  <c:v>45758</c:v>
                </c:pt>
                <c:pt idx="270">
                  <c:v>45765</c:v>
                </c:pt>
                <c:pt idx="271">
                  <c:v>45772</c:v>
                </c:pt>
                <c:pt idx="272">
                  <c:v>45779</c:v>
                </c:pt>
                <c:pt idx="273">
                  <c:v>45786</c:v>
                </c:pt>
                <c:pt idx="274">
                  <c:v>45793</c:v>
                </c:pt>
                <c:pt idx="275">
                  <c:v>45800</c:v>
                </c:pt>
                <c:pt idx="276">
                  <c:v>45807</c:v>
                </c:pt>
                <c:pt idx="277">
                  <c:v>45814</c:v>
                </c:pt>
                <c:pt idx="278">
                  <c:v>45821</c:v>
                </c:pt>
                <c:pt idx="279">
                  <c:v>45828</c:v>
                </c:pt>
                <c:pt idx="280">
                  <c:v>45835</c:v>
                </c:pt>
                <c:pt idx="281">
                  <c:v>45842</c:v>
                </c:pt>
                <c:pt idx="282">
                  <c:v>45849</c:v>
                </c:pt>
                <c:pt idx="283">
                  <c:v>45856</c:v>
                </c:pt>
                <c:pt idx="284">
                  <c:v>45863</c:v>
                </c:pt>
                <c:pt idx="285">
                  <c:v>45870</c:v>
                </c:pt>
                <c:pt idx="286">
                  <c:v>45877</c:v>
                </c:pt>
                <c:pt idx="287">
                  <c:v>45884</c:v>
                </c:pt>
                <c:pt idx="288">
                  <c:v>45891</c:v>
                </c:pt>
                <c:pt idx="289">
                  <c:v>45898</c:v>
                </c:pt>
                <c:pt idx="290">
                  <c:v>45905</c:v>
                </c:pt>
                <c:pt idx="291">
                  <c:v>45912</c:v>
                </c:pt>
                <c:pt idx="292">
                  <c:v>45919</c:v>
                </c:pt>
                <c:pt idx="293">
                  <c:v>45926</c:v>
                </c:pt>
                <c:pt idx="294">
                  <c:v>45933</c:v>
                </c:pt>
                <c:pt idx="295">
                  <c:v>45940</c:v>
                </c:pt>
                <c:pt idx="296">
                  <c:v>45947</c:v>
                </c:pt>
                <c:pt idx="297">
                  <c:v>45954</c:v>
                </c:pt>
                <c:pt idx="298">
                  <c:v>45961</c:v>
                </c:pt>
                <c:pt idx="299">
                  <c:v>45968</c:v>
                </c:pt>
                <c:pt idx="300">
                  <c:v>45975</c:v>
                </c:pt>
                <c:pt idx="301">
                  <c:v>45982</c:v>
                </c:pt>
                <c:pt idx="302">
                  <c:v>45989</c:v>
                </c:pt>
                <c:pt idx="303">
                  <c:v>45996</c:v>
                </c:pt>
                <c:pt idx="304">
                  <c:v>46003</c:v>
                </c:pt>
              </c:numCache>
            </c:numRef>
          </c:cat>
          <c:val>
            <c:numRef>
              <c:f>'指数合成-1.0'!$DH$67:$DH$371</c:f>
              <c:numCache>
                <c:formatCode>0.0</c:formatCode>
                <c:ptCount val="305"/>
                <c:pt idx="0">
                  <c:v>-60.755246605581327</c:v>
                </c:pt>
                <c:pt idx="1">
                  <c:v>-78.335076965611478</c:v>
                </c:pt>
                <c:pt idx="2">
                  <c:v>-85.583579078271939</c:v>
                </c:pt>
                <c:pt idx="3">
                  <c:v>-75.879821452800442</c:v>
                </c:pt>
                <c:pt idx="4">
                  <c:v>-64.192844231287467</c:v>
                </c:pt>
                <c:pt idx="5">
                  <c:v>-52.164238945849689</c:v>
                </c:pt>
                <c:pt idx="6">
                  <c:v>-42.630897393953283</c:v>
                </c:pt>
                <c:pt idx="7">
                  <c:v>-41.469514597283222</c:v>
                </c:pt>
                <c:pt idx="8">
                  <c:v>-39.120510223255437</c:v>
                </c:pt>
                <c:pt idx="9">
                  <c:v>-39.204753766536015</c:v>
                </c:pt>
                <c:pt idx="10">
                  <c:v>-40.316746443445382</c:v>
                </c:pt>
                <c:pt idx="11">
                  <c:v>-43.725299882753411</c:v>
                </c:pt>
                <c:pt idx="12">
                  <c:v>-42.542564122530315</c:v>
                </c:pt>
                <c:pt idx="13">
                  <c:v>-37.530149237129905</c:v>
                </c:pt>
                <c:pt idx="14">
                  <c:v>-29.824621645371934</c:v>
                </c:pt>
                <c:pt idx="15">
                  <c:v>-17.16890827415871</c:v>
                </c:pt>
                <c:pt idx="16">
                  <c:v>-10.793164839038056</c:v>
                </c:pt>
                <c:pt idx="17">
                  <c:v>-9.493517721998046</c:v>
                </c:pt>
                <c:pt idx="18">
                  <c:v>-9.5905224638918867</c:v>
                </c:pt>
                <c:pt idx="19">
                  <c:v>-15.560662540014519</c:v>
                </c:pt>
                <c:pt idx="20">
                  <c:v>-15.86753521563746</c:v>
                </c:pt>
                <c:pt idx="21">
                  <c:v>-18.376890908683336</c:v>
                </c:pt>
                <c:pt idx="22">
                  <c:v>-21.01419788116327</c:v>
                </c:pt>
                <c:pt idx="23">
                  <c:v>-17.014048922147936</c:v>
                </c:pt>
                <c:pt idx="24">
                  <c:v>-17.417067196466405</c:v>
                </c:pt>
                <c:pt idx="25">
                  <c:v>-15.176060947486505</c:v>
                </c:pt>
                <c:pt idx="26">
                  <c:v>-11.542752997119337</c:v>
                </c:pt>
                <c:pt idx="27">
                  <c:v>-7.359279493102477</c:v>
                </c:pt>
                <c:pt idx="28">
                  <c:v>-1.5049529106902497</c:v>
                </c:pt>
                <c:pt idx="29">
                  <c:v>8.3084026319343991</c:v>
                </c:pt>
                <c:pt idx="30">
                  <c:v>14.722960683599084</c:v>
                </c:pt>
                <c:pt idx="31">
                  <c:v>18.038297392503509</c:v>
                </c:pt>
                <c:pt idx="32">
                  <c:v>18.162338101826677</c:v>
                </c:pt>
                <c:pt idx="33">
                  <c:v>15.539774944490816</c:v>
                </c:pt>
                <c:pt idx="34">
                  <c:v>16.436398346380628</c:v>
                </c:pt>
                <c:pt idx="35">
                  <c:v>16.399461223504844</c:v>
                </c:pt>
                <c:pt idx="36">
                  <c:v>17.15678369973206</c:v>
                </c:pt>
                <c:pt idx="37">
                  <c:v>15.674436707236964</c:v>
                </c:pt>
                <c:pt idx="38">
                  <c:v>14.86811370481378</c:v>
                </c:pt>
                <c:pt idx="39">
                  <c:v>13.360738282420058</c:v>
                </c:pt>
                <c:pt idx="40">
                  <c:v>12.427153522281415</c:v>
                </c:pt>
                <c:pt idx="41">
                  <c:v>9.5121544106393543</c:v>
                </c:pt>
                <c:pt idx="42">
                  <c:v>8.8104469143972466</c:v>
                </c:pt>
                <c:pt idx="43">
                  <c:v>7.0386532187482658</c:v>
                </c:pt>
                <c:pt idx="44">
                  <c:v>5.1829942289165558</c:v>
                </c:pt>
                <c:pt idx="45">
                  <c:v>4.8896536323066044</c:v>
                </c:pt>
                <c:pt idx="46">
                  <c:v>5.2655736460906155</c:v>
                </c:pt>
                <c:pt idx="47">
                  <c:v>6.9404942423407334</c:v>
                </c:pt>
                <c:pt idx="48">
                  <c:v>9.0119420079926016</c:v>
                </c:pt>
                <c:pt idx="49">
                  <c:v>16.861012731060924</c:v>
                </c:pt>
                <c:pt idx="50">
                  <c:v>28.431590188791205</c:v>
                </c:pt>
                <c:pt idx="51">
                  <c:v>60.267419799435231</c:v>
                </c:pt>
                <c:pt idx="52">
                  <c:v>126.06915653083308</c:v>
                </c:pt>
                <c:pt idx="53">
                  <c:v>305.61733893748277</c:v>
                </c:pt>
                <c:pt idx="54">
                  <c:v>503.48630963032463</c:v>
                </c:pt>
                <c:pt idx="55">
                  <c:v>300.89613777852992</c:v>
                </c:pt>
                <c:pt idx="56">
                  <c:v>216.56526769927939</c:v>
                </c:pt>
                <c:pt idx="57">
                  <c:v>142.56355847877066</c:v>
                </c:pt>
                <c:pt idx="58">
                  <c:v>101.42338689041352</c:v>
                </c:pt>
                <c:pt idx="59">
                  <c:v>92.61352315869425</c:v>
                </c:pt>
                <c:pt idx="60">
                  <c:v>85.189291779231723</c:v>
                </c:pt>
                <c:pt idx="61">
                  <c:v>88.146795136685881</c:v>
                </c:pt>
                <c:pt idx="62">
                  <c:v>95.836302046369298</c:v>
                </c:pt>
                <c:pt idx="63">
                  <c:v>98.236842631405182</c:v>
                </c:pt>
                <c:pt idx="64">
                  <c:v>97.214583166563415</c:v>
                </c:pt>
                <c:pt idx="65">
                  <c:v>84.870001641176145</c:v>
                </c:pt>
                <c:pt idx="66">
                  <c:v>71.293380534798104</c:v>
                </c:pt>
                <c:pt idx="67">
                  <c:v>56.811803213660426</c:v>
                </c:pt>
                <c:pt idx="68">
                  <c:v>45.165167588100104</c:v>
                </c:pt>
                <c:pt idx="69">
                  <c:v>37.646777090207081</c:v>
                </c:pt>
                <c:pt idx="70">
                  <c:v>31.876137118672773</c:v>
                </c:pt>
                <c:pt idx="71">
                  <c:v>30.522090196247149</c:v>
                </c:pt>
                <c:pt idx="72">
                  <c:v>27.025669864041205</c:v>
                </c:pt>
                <c:pt idx="73">
                  <c:v>33.246736833679989</c:v>
                </c:pt>
                <c:pt idx="74">
                  <c:v>40.87441211239198</c:v>
                </c:pt>
                <c:pt idx="75">
                  <c:v>43.428076157730175</c:v>
                </c:pt>
                <c:pt idx="76">
                  <c:v>44.634403048892068</c:v>
                </c:pt>
                <c:pt idx="77">
                  <c:v>35.726793658396161</c:v>
                </c:pt>
                <c:pt idx="78">
                  <c:v>21.764503864509237</c:v>
                </c:pt>
                <c:pt idx="79">
                  <c:v>9.674193243458177</c:v>
                </c:pt>
                <c:pt idx="80">
                  <c:v>-2.8414459471015334</c:v>
                </c:pt>
                <c:pt idx="81">
                  <c:v>-9.7560889760266463</c:v>
                </c:pt>
                <c:pt idx="82">
                  <c:v>-11.848834395832711</c:v>
                </c:pt>
                <c:pt idx="83">
                  <c:v>-12.674542050840259</c:v>
                </c:pt>
                <c:pt idx="84">
                  <c:v>-13.271258658549584</c:v>
                </c:pt>
                <c:pt idx="85">
                  <c:v>-15.563371492063112</c:v>
                </c:pt>
                <c:pt idx="86">
                  <c:v>-15.795436754087348</c:v>
                </c:pt>
                <c:pt idx="87">
                  <c:v>-16.984065064840877</c:v>
                </c:pt>
                <c:pt idx="88">
                  <c:v>-16.236777836051374</c:v>
                </c:pt>
                <c:pt idx="89">
                  <c:v>-15.858639995071584</c:v>
                </c:pt>
                <c:pt idx="90">
                  <c:v>-15.835427676456391</c:v>
                </c:pt>
                <c:pt idx="91">
                  <c:v>-15.610915951148129</c:v>
                </c:pt>
                <c:pt idx="92">
                  <c:v>-14.983820451221291</c:v>
                </c:pt>
                <c:pt idx="93">
                  <c:v>-13.10149398188652</c:v>
                </c:pt>
                <c:pt idx="94">
                  <c:v>-12.345182614400883</c:v>
                </c:pt>
                <c:pt idx="95">
                  <c:v>-11.023071738367292</c:v>
                </c:pt>
                <c:pt idx="96">
                  <c:v>-9.9403555371202685</c:v>
                </c:pt>
                <c:pt idx="97">
                  <c:v>-9.686910486827216</c:v>
                </c:pt>
                <c:pt idx="98">
                  <c:v>-10.54754006666829</c:v>
                </c:pt>
                <c:pt idx="99">
                  <c:v>-10.086923640517199</c:v>
                </c:pt>
                <c:pt idx="100">
                  <c:v>-9.163979856343957</c:v>
                </c:pt>
                <c:pt idx="101">
                  <c:v>-8.252388931865724</c:v>
                </c:pt>
                <c:pt idx="102">
                  <c:v>-12.016470380448837</c:v>
                </c:pt>
                <c:pt idx="103">
                  <c:v>-9.8176052947741397</c:v>
                </c:pt>
                <c:pt idx="104">
                  <c:v>1.9879148493966454</c:v>
                </c:pt>
                <c:pt idx="105">
                  <c:v>4.189892353589201</c:v>
                </c:pt>
                <c:pt idx="106">
                  <c:v>9.7001726595391773</c:v>
                </c:pt>
                <c:pt idx="107">
                  <c:v>2.8334850441942763</c:v>
                </c:pt>
                <c:pt idx="108">
                  <c:v>-11.782713297154231</c:v>
                </c:pt>
                <c:pt idx="109">
                  <c:v>-21.961363280470664</c:v>
                </c:pt>
                <c:pt idx="110">
                  <c:v>-33.48038030676797</c:v>
                </c:pt>
                <c:pt idx="111">
                  <c:v>-40.090832013335842</c:v>
                </c:pt>
                <c:pt idx="112">
                  <c:v>-48.650188029821628</c:v>
                </c:pt>
                <c:pt idx="113">
                  <c:v>-54.733170947929537</c:v>
                </c:pt>
                <c:pt idx="114">
                  <c:v>-58.74827808677415</c:v>
                </c:pt>
                <c:pt idx="115">
                  <c:v>-60.842697684224781</c:v>
                </c:pt>
                <c:pt idx="116">
                  <c:v>-58.73464284788939</c:v>
                </c:pt>
                <c:pt idx="117">
                  <c:v>-54.724843043380794</c:v>
                </c:pt>
                <c:pt idx="118">
                  <c:v>-47.44326623206662</c:v>
                </c:pt>
                <c:pt idx="119">
                  <c:v>-45.352350597083657</c:v>
                </c:pt>
                <c:pt idx="120">
                  <c:v>-41.892260504729961</c:v>
                </c:pt>
                <c:pt idx="121">
                  <c:v>-37.956455945394538</c:v>
                </c:pt>
                <c:pt idx="122">
                  <c:v>-35.850991871771598</c:v>
                </c:pt>
                <c:pt idx="123">
                  <c:v>-32.621184531846339</c:v>
                </c:pt>
                <c:pt idx="124">
                  <c:v>-27.351072764496095</c:v>
                </c:pt>
                <c:pt idx="125">
                  <c:v>-27.475342972428749</c:v>
                </c:pt>
                <c:pt idx="126">
                  <c:v>-29.338433961087048</c:v>
                </c:pt>
                <c:pt idx="127">
                  <c:v>-30.951592680134922</c:v>
                </c:pt>
                <c:pt idx="128">
                  <c:v>-33.654882991383772</c:v>
                </c:pt>
                <c:pt idx="129">
                  <c:v>-29.518024818489266</c:v>
                </c:pt>
                <c:pt idx="130">
                  <c:v>-25.172450137913941</c:v>
                </c:pt>
                <c:pt idx="131">
                  <c:v>-18.32450408663739</c:v>
                </c:pt>
                <c:pt idx="132">
                  <c:v>-16.042531306479404</c:v>
                </c:pt>
                <c:pt idx="133">
                  <c:v>-19.287900694155269</c:v>
                </c:pt>
                <c:pt idx="134">
                  <c:v>-22.747304041947046</c:v>
                </c:pt>
                <c:pt idx="135">
                  <c:v>-27.980438991432649</c:v>
                </c:pt>
                <c:pt idx="136">
                  <c:v>-26.301933685432488</c:v>
                </c:pt>
                <c:pt idx="137">
                  <c:v>-21.011029449484013</c:v>
                </c:pt>
                <c:pt idx="138">
                  <c:v>-20.571467750247166</c:v>
                </c:pt>
                <c:pt idx="139">
                  <c:v>-18.41733456042067</c:v>
                </c:pt>
                <c:pt idx="140">
                  <c:v>-19.653223748993952</c:v>
                </c:pt>
                <c:pt idx="141">
                  <c:v>-21.970212979771233</c:v>
                </c:pt>
                <c:pt idx="142">
                  <c:v>-19.855804420402677</c:v>
                </c:pt>
                <c:pt idx="143">
                  <c:v>-21.730049172082502</c:v>
                </c:pt>
                <c:pt idx="144">
                  <c:v>-22.767738064002714</c:v>
                </c:pt>
                <c:pt idx="145">
                  <c:v>-27.813037940826561</c:v>
                </c:pt>
                <c:pt idx="146">
                  <c:v>-29.925380337539693</c:v>
                </c:pt>
                <c:pt idx="147">
                  <c:v>-32.075438441000358</c:v>
                </c:pt>
                <c:pt idx="148">
                  <c:v>-31.120941091026552</c:v>
                </c:pt>
                <c:pt idx="149">
                  <c:v>-28.424185819683601</c:v>
                </c:pt>
                <c:pt idx="150">
                  <c:v>-25.951820475279391</c:v>
                </c:pt>
                <c:pt idx="151">
                  <c:v>-24.62670119516649</c:v>
                </c:pt>
                <c:pt idx="152">
                  <c:v>-27.681573524276772</c:v>
                </c:pt>
                <c:pt idx="153">
                  <c:v>-31.422679383897545</c:v>
                </c:pt>
                <c:pt idx="154">
                  <c:v>-22.292068888131027</c:v>
                </c:pt>
                <c:pt idx="155">
                  <c:v>-8.426049529791527</c:v>
                </c:pt>
                <c:pt idx="156">
                  <c:v>-0.86051360224743689</c:v>
                </c:pt>
                <c:pt idx="157">
                  <c:v>2.7653178824051281</c:v>
                </c:pt>
                <c:pt idx="158">
                  <c:v>-9.1671454439203046</c:v>
                </c:pt>
                <c:pt idx="159">
                  <c:v>-16.203661602044065</c:v>
                </c:pt>
                <c:pt idx="160">
                  <c:v>-15.442987799632434</c:v>
                </c:pt>
                <c:pt idx="161">
                  <c:v>-5.3599549578328407</c:v>
                </c:pt>
                <c:pt idx="162">
                  <c:v>13.805924292826276</c:v>
                </c:pt>
                <c:pt idx="163">
                  <c:v>36.902733824069401</c:v>
                </c:pt>
                <c:pt idx="164">
                  <c:v>64.365074168422325</c:v>
                </c:pt>
                <c:pt idx="165">
                  <c:v>86.197382288502922</c:v>
                </c:pt>
                <c:pt idx="166">
                  <c:v>98.784133558187392</c:v>
                </c:pt>
                <c:pt idx="167">
                  <c:v>99.010613891268207</c:v>
                </c:pt>
                <c:pt idx="168">
                  <c:v>89.955618462128854</c:v>
                </c:pt>
                <c:pt idx="169">
                  <c:v>73.149826390961493</c:v>
                </c:pt>
                <c:pt idx="170">
                  <c:v>50.805195315252803</c:v>
                </c:pt>
                <c:pt idx="171">
                  <c:v>41.318609796024219</c:v>
                </c:pt>
                <c:pt idx="172">
                  <c:v>34.191984855998612</c:v>
                </c:pt>
                <c:pt idx="173">
                  <c:v>27.823768617830652</c:v>
                </c:pt>
                <c:pt idx="174">
                  <c:v>25.793688582796065</c:v>
                </c:pt>
                <c:pt idx="175">
                  <c:v>26.07531691041018</c:v>
                </c:pt>
                <c:pt idx="176">
                  <c:v>24.40932454778968</c:v>
                </c:pt>
                <c:pt idx="177">
                  <c:v>26.279655852449977</c:v>
                </c:pt>
                <c:pt idx="178">
                  <c:v>30.90436653558649</c:v>
                </c:pt>
                <c:pt idx="179">
                  <c:v>32.581026248661317</c:v>
                </c:pt>
                <c:pt idx="180">
                  <c:v>31.034216172286193</c:v>
                </c:pt>
                <c:pt idx="181">
                  <c:v>26.06162040452007</c:v>
                </c:pt>
                <c:pt idx="182">
                  <c:v>28.730948932291369</c:v>
                </c:pt>
                <c:pt idx="183">
                  <c:v>26.549792813304364</c:v>
                </c:pt>
                <c:pt idx="184">
                  <c:v>30.957801537723782</c:v>
                </c:pt>
                <c:pt idx="185">
                  <c:v>40.693097221968117</c:v>
                </c:pt>
                <c:pt idx="186">
                  <c:v>38.489024958571463</c:v>
                </c:pt>
                <c:pt idx="187">
                  <c:v>40.245638070320922</c:v>
                </c:pt>
                <c:pt idx="188">
                  <c:v>35.393498352454856</c:v>
                </c:pt>
                <c:pt idx="189">
                  <c:v>26.538735484496897</c:v>
                </c:pt>
                <c:pt idx="190">
                  <c:v>30.227329807768825</c:v>
                </c:pt>
                <c:pt idx="191">
                  <c:v>28.962571515750113</c:v>
                </c:pt>
                <c:pt idx="192">
                  <c:v>30.796824842848679</c:v>
                </c:pt>
                <c:pt idx="193">
                  <c:v>30.932193181801381</c:v>
                </c:pt>
                <c:pt idx="194">
                  <c:v>25.374871430540864</c:v>
                </c:pt>
                <c:pt idx="195">
                  <c:v>29.314106244422305</c:v>
                </c:pt>
                <c:pt idx="196">
                  <c:v>29.729484451298021</c:v>
                </c:pt>
                <c:pt idx="197">
                  <c:v>35.346630232364191</c:v>
                </c:pt>
                <c:pt idx="198">
                  <c:v>43.950336371767207</c:v>
                </c:pt>
                <c:pt idx="199">
                  <c:v>50.131033087492597</c:v>
                </c:pt>
                <c:pt idx="200">
                  <c:v>49.13059615036525</c:v>
                </c:pt>
                <c:pt idx="201">
                  <c:v>48.642068021655234</c:v>
                </c:pt>
                <c:pt idx="202">
                  <c:v>40.446240178752873</c:v>
                </c:pt>
                <c:pt idx="203">
                  <c:v>40.832855762735761</c:v>
                </c:pt>
                <c:pt idx="204">
                  <c:v>47.013828228170325</c:v>
                </c:pt>
                <c:pt idx="205">
                  <c:v>58.630402031386069</c:v>
                </c:pt>
                <c:pt idx="206">
                  <c:v>49.976548798385096</c:v>
                </c:pt>
                <c:pt idx="207">
                  <c:v>28.316918213536468</c:v>
                </c:pt>
                <c:pt idx="208">
                  <c:v>6.5106316421079384</c:v>
                </c:pt>
                <c:pt idx="209">
                  <c:v>-1.1733927355787728</c:v>
                </c:pt>
                <c:pt idx="210">
                  <c:v>-1.7100226864038177</c:v>
                </c:pt>
                <c:pt idx="211">
                  <c:v>4.2560213499924515</c:v>
                </c:pt>
                <c:pt idx="212">
                  <c:v>16.327052055808892</c:v>
                </c:pt>
                <c:pt idx="213">
                  <c:v>12.008910299366391</c:v>
                </c:pt>
                <c:pt idx="214">
                  <c:v>11.694722913951082</c:v>
                </c:pt>
                <c:pt idx="215">
                  <c:v>5.8426720143574187</c:v>
                </c:pt>
                <c:pt idx="216">
                  <c:v>4.1464774937438449</c:v>
                </c:pt>
                <c:pt idx="217">
                  <c:v>1.969706980506956</c:v>
                </c:pt>
                <c:pt idx="218">
                  <c:v>2.0159311201653622</c:v>
                </c:pt>
                <c:pt idx="219">
                  <c:v>5.9013597942710447</c:v>
                </c:pt>
                <c:pt idx="220">
                  <c:v>7.2149401635924164</c:v>
                </c:pt>
                <c:pt idx="221">
                  <c:v>11.25830011479583</c:v>
                </c:pt>
                <c:pt idx="222">
                  <c:v>9.9078537905638058</c:v>
                </c:pt>
                <c:pt idx="223">
                  <c:v>6.109482397976592</c:v>
                </c:pt>
                <c:pt idx="224">
                  <c:v>3.1909060826918534</c:v>
                </c:pt>
                <c:pt idx="225">
                  <c:v>-0.83306963332793771</c:v>
                </c:pt>
                <c:pt idx="226">
                  <c:v>0.11654716132822784</c:v>
                </c:pt>
                <c:pt idx="227">
                  <c:v>1.0788499437862384</c:v>
                </c:pt>
                <c:pt idx="228">
                  <c:v>-3.8562111243892474</c:v>
                </c:pt>
                <c:pt idx="229">
                  <c:v>-4.7329634504388736</c:v>
                </c:pt>
                <c:pt idx="230">
                  <c:v>-8.1280465141047813</c:v>
                </c:pt>
                <c:pt idx="231">
                  <c:v>-9.0084682387160342</c:v>
                </c:pt>
                <c:pt idx="232">
                  <c:v>-7.212091876682706</c:v>
                </c:pt>
                <c:pt idx="233">
                  <c:v>-4.7222186587883925</c:v>
                </c:pt>
                <c:pt idx="234">
                  <c:v>-5.9357253865607902</c:v>
                </c:pt>
                <c:pt idx="235">
                  <c:v>-8.2158650799898396</c:v>
                </c:pt>
                <c:pt idx="236">
                  <c:v>-8.2165359169308942</c:v>
                </c:pt>
                <c:pt idx="237">
                  <c:v>-9.1417832767634053</c:v>
                </c:pt>
                <c:pt idx="238">
                  <c:v>-3.0915447041816861</c:v>
                </c:pt>
                <c:pt idx="239">
                  <c:v>2.1155830660078578</c:v>
                </c:pt>
                <c:pt idx="240">
                  <c:v>4.0552552326058873</c:v>
                </c:pt>
                <c:pt idx="241">
                  <c:v>3.1947053374004071</c:v>
                </c:pt>
                <c:pt idx="242">
                  <c:v>-9.0144922931727933E-2</c:v>
                </c:pt>
                <c:pt idx="243">
                  <c:v>0.63448038104576199</c:v>
                </c:pt>
                <c:pt idx="244">
                  <c:v>1.0136868259258875</c:v>
                </c:pt>
                <c:pt idx="245">
                  <c:v>2.5953675363373634</c:v>
                </c:pt>
                <c:pt idx="246">
                  <c:v>7.6801129519410267</c:v>
                </c:pt>
                <c:pt idx="247">
                  <c:v>6.3055435829460436</c:v>
                </c:pt>
                <c:pt idx="248">
                  <c:v>6.043706906322484</c:v>
                </c:pt>
                <c:pt idx="249">
                  <c:v>6.8025310169586248</c:v>
                </c:pt>
                <c:pt idx="250">
                  <c:v>1.4646293154269898</c:v>
                </c:pt>
                <c:pt idx="251">
                  <c:v>0.4098821641113517</c:v>
                </c:pt>
                <c:pt idx="252">
                  <c:v>0.42677783628622024</c:v>
                </c:pt>
                <c:pt idx="253">
                  <c:v>-1.0995194907822849</c:v>
                </c:pt>
                <c:pt idx="254">
                  <c:v>-1.4350739705541997</c:v>
                </c:pt>
                <c:pt idx="255">
                  <c:v>-2.1829034399122804</c:v>
                </c:pt>
                <c:pt idx="256">
                  <c:v>-2.5574238387163604</c:v>
                </c:pt>
                <c:pt idx="257">
                  <c:v>-1.4307305800749077</c:v>
                </c:pt>
                <c:pt idx="258">
                  <c:v>-2.2643987966915091</c:v>
                </c:pt>
                <c:pt idx="259">
                  <c:v>1.7892405222856809</c:v>
                </c:pt>
                <c:pt idx="260">
                  <c:v>17.960246154705814</c:v>
                </c:pt>
                <c:pt idx="261">
                  <c:v>18.083780333814076</c:v>
                </c:pt>
                <c:pt idx="262">
                  <c:v>26.511475159376374</c:v>
                </c:pt>
                <c:pt idx="263">
                  <c:v>24.516503537470342</c:v>
                </c:pt>
                <c:pt idx="264">
                  <c:v>9.6637970386422154</c:v>
                </c:pt>
                <c:pt idx="265">
                  <c:v>10.345179547222031</c:v>
                </c:pt>
                <c:pt idx="266">
                  <c:v>4.7459772604315305</c:v>
                </c:pt>
                <c:pt idx="267">
                  <c:v>2.1477145974849066</c:v>
                </c:pt>
                <c:pt idx="268">
                  <c:v>1.9356428655583642</c:v>
                </c:pt>
                <c:pt idx="269">
                  <c:v>2.0169873461454415</c:v>
                </c:pt>
                <c:pt idx="270">
                  <c:v>2.7891257170263231</c:v>
                </c:pt>
                <c:pt idx="271">
                  <c:v>1.9005819535804562</c:v>
                </c:pt>
                <c:pt idx="272">
                  <c:v>0.79494846009549747</c:v>
                </c:pt>
                <c:pt idx="273">
                  <c:v>0.59318239406611895</c:v>
                </c:pt>
                <c:pt idx="274">
                  <c:v>2.5847699979278786</c:v>
                </c:pt>
                <c:pt idx="275">
                  <c:v>5.8950681482149037</c:v>
                </c:pt>
                <c:pt idx="276">
                  <c:v>7.9564091806145569</c:v>
                </c:pt>
                <c:pt idx="277">
                  <c:v>9.6151349183852375</c:v>
                </c:pt>
                <c:pt idx="278">
                  <c:v>7.4647815014767787</c:v>
                </c:pt>
                <c:pt idx="279">
                  <c:v>8.65271764391305</c:v>
                </c:pt>
                <c:pt idx="280">
                  <c:v>9.0827470807459463</c:v>
                </c:pt>
                <c:pt idx="281">
                  <c:v>7.7796579453583519</c:v>
                </c:pt>
                <c:pt idx="282">
                  <c:v>8.0817309683001639</c:v>
                </c:pt>
                <c:pt idx="283">
                  <c:v>4.3749819188175394</c:v>
                </c:pt>
                <c:pt idx="284">
                  <c:v>2.1428546828177417</c:v>
                </c:pt>
                <c:pt idx="285">
                  <c:v>1.6303704942492061</c:v>
                </c:pt>
                <c:pt idx="286">
                  <c:v>2.1624010428731708</c:v>
                </c:pt>
                <c:pt idx="287">
                  <c:v>4.8299134713416123</c:v>
                </c:pt>
                <c:pt idx="288">
                  <c:v>6.2148581067913398</c:v>
                </c:pt>
                <c:pt idx="289">
                  <c:v>5.7582928742294825</c:v>
                </c:pt>
                <c:pt idx="290">
                  <c:v>4.5350999308955124</c:v>
                </c:pt>
                <c:pt idx="291">
                  <c:v>1.6711482030970615E-2</c:v>
                </c:pt>
                <c:pt idx="292">
                  <c:v>-1.8778463160609107</c:v>
                </c:pt>
                <c:pt idx="293">
                  <c:v>-4.5635605055778399</c:v>
                </c:pt>
                <c:pt idx="294">
                  <c:v>-4.3818176928888164</c:v>
                </c:pt>
                <c:pt idx="295">
                  <c:v>-4.2461637433287507</c:v>
                </c:pt>
                <c:pt idx="296">
                  <c:v>-4.4996680026625313</c:v>
                </c:pt>
                <c:pt idx="297">
                  <c:v>-3.6550952017013145</c:v>
                </c:pt>
                <c:pt idx="298">
                  <c:v>-2.7978995279557779</c:v>
                </c:pt>
                <c:pt idx="299">
                  <c:v>-1.2540200154006413</c:v>
                </c:pt>
                <c:pt idx="300">
                  <c:v>0.36839693460987633</c:v>
                </c:pt>
                <c:pt idx="301">
                  <c:v>2.0403747650340023</c:v>
                </c:pt>
                <c:pt idx="302">
                  <c:v>1.4431651675125465</c:v>
                </c:pt>
                <c:pt idx="303">
                  <c:v>4.689156666451467</c:v>
                </c:pt>
                <c:pt idx="304">
                  <c:v>5.6915680714220542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A15F-4465-BB40-C6A6CC259C8C}"/>
            </c:ext>
          </c:extLst>
        </c:ser>
        <c:ser>
          <c:idx val="5"/>
          <c:order val="4"/>
          <c:tx>
            <c:strRef>
              <c:f>'指数合成-1.0'!$DI$8</c:f>
              <c:strCache>
                <c:ptCount val="1"/>
                <c:pt idx="0">
                  <c:v>投资</c:v>
                </c:pt>
              </c:strCache>
            </c:strRef>
          </c:tx>
          <c:spPr>
            <a:ln w="28575" cap="rnd">
              <a:solidFill>
                <a:sysClr val="windowText" lastClr="000000">
                  <a:lumMod val="50000"/>
                  <a:lumOff val="50000"/>
                </a:sysClr>
              </a:solidFill>
              <a:round/>
            </a:ln>
            <a:effectLst/>
          </c:spPr>
          <c:marker>
            <c:symbol val="none"/>
          </c:marker>
          <c:cat>
            <c:numRef>
              <c:f>'指数合成-1.0'!$DC$67:$DC$371</c:f>
              <c:numCache>
                <c:formatCode>yyyy\-mm\-dd</c:formatCode>
                <c:ptCount val="305"/>
                <c:pt idx="0">
                  <c:v>43875</c:v>
                </c:pt>
                <c:pt idx="1">
                  <c:v>43882</c:v>
                </c:pt>
                <c:pt idx="2">
                  <c:v>43889</c:v>
                </c:pt>
                <c:pt idx="3">
                  <c:v>43896</c:v>
                </c:pt>
                <c:pt idx="4">
                  <c:v>43903</c:v>
                </c:pt>
                <c:pt idx="5">
                  <c:v>43910</c:v>
                </c:pt>
                <c:pt idx="6">
                  <c:v>43917</c:v>
                </c:pt>
                <c:pt idx="7">
                  <c:v>43924</c:v>
                </c:pt>
                <c:pt idx="8">
                  <c:v>43931</c:v>
                </c:pt>
                <c:pt idx="9">
                  <c:v>43938</c:v>
                </c:pt>
                <c:pt idx="10">
                  <c:v>43945</c:v>
                </c:pt>
                <c:pt idx="11">
                  <c:v>43952</c:v>
                </c:pt>
                <c:pt idx="12">
                  <c:v>43959</c:v>
                </c:pt>
                <c:pt idx="13">
                  <c:v>43966</c:v>
                </c:pt>
                <c:pt idx="14">
                  <c:v>43973</c:v>
                </c:pt>
                <c:pt idx="15">
                  <c:v>43980</c:v>
                </c:pt>
                <c:pt idx="16">
                  <c:v>43987</c:v>
                </c:pt>
                <c:pt idx="17">
                  <c:v>43994</c:v>
                </c:pt>
                <c:pt idx="18">
                  <c:v>44001</c:v>
                </c:pt>
                <c:pt idx="19">
                  <c:v>44008</c:v>
                </c:pt>
                <c:pt idx="20">
                  <c:v>44015</c:v>
                </c:pt>
                <c:pt idx="21">
                  <c:v>44022</c:v>
                </c:pt>
                <c:pt idx="22">
                  <c:v>44029</c:v>
                </c:pt>
                <c:pt idx="23">
                  <c:v>44036</c:v>
                </c:pt>
                <c:pt idx="24">
                  <c:v>44043</c:v>
                </c:pt>
                <c:pt idx="25">
                  <c:v>44050</c:v>
                </c:pt>
                <c:pt idx="26">
                  <c:v>44057</c:v>
                </c:pt>
                <c:pt idx="27">
                  <c:v>44064</c:v>
                </c:pt>
                <c:pt idx="28">
                  <c:v>44071</c:v>
                </c:pt>
                <c:pt idx="29">
                  <c:v>44078</c:v>
                </c:pt>
                <c:pt idx="30">
                  <c:v>44085</c:v>
                </c:pt>
                <c:pt idx="31">
                  <c:v>44092</c:v>
                </c:pt>
                <c:pt idx="32">
                  <c:v>44099</c:v>
                </c:pt>
                <c:pt idx="33">
                  <c:v>44106</c:v>
                </c:pt>
                <c:pt idx="34">
                  <c:v>44113</c:v>
                </c:pt>
                <c:pt idx="35">
                  <c:v>44120</c:v>
                </c:pt>
                <c:pt idx="36">
                  <c:v>44127</c:v>
                </c:pt>
                <c:pt idx="37">
                  <c:v>44134</c:v>
                </c:pt>
                <c:pt idx="38">
                  <c:v>44141</c:v>
                </c:pt>
                <c:pt idx="39">
                  <c:v>44148</c:v>
                </c:pt>
                <c:pt idx="40">
                  <c:v>44155</c:v>
                </c:pt>
                <c:pt idx="41">
                  <c:v>44162</c:v>
                </c:pt>
                <c:pt idx="42">
                  <c:v>44169</c:v>
                </c:pt>
                <c:pt idx="43">
                  <c:v>44176</c:v>
                </c:pt>
                <c:pt idx="44">
                  <c:v>44183</c:v>
                </c:pt>
                <c:pt idx="45">
                  <c:v>44190</c:v>
                </c:pt>
                <c:pt idx="46">
                  <c:v>44197</c:v>
                </c:pt>
                <c:pt idx="47">
                  <c:v>44204</c:v>
                </c:pt>
                <c:pt idx="48">
                  <c:v>44211</c:v>
                </c:pt>
                <c:pt idx="49">
                  <c:v>44218</c:v>
                </c:pt>
                <c:pt idx="50">
                  <c:v>44225</c:v>
                </c:pt>
                <c:pt idx="51">
                  <c:v>44232</c:v>
                </c:pt>
                <c:pt idx="52">
                  <c:v>44239</c:v>
                </c:pt>
                <c:pt idx="53">
                  <c:v>44246</c:v>
                </c:pt>
                <c:pt idx="54">
                  <c:v>44253</c:v>
                </c:pt>
                <c:pt idx="55">
                  <c:v>44260</c:v>
                </c:pt>
                <c:pt idx="56">
                  <c:v>44267</c:v>
                </c:pt>
                <c:pt idx="57">
                  <c:v>44274</c:v>
                </c:pt>
                <c:pt idx="58">
                  <c:v>44281</c:v>
                </c:pt>
                <c:pt idx="59">
                  <c:v>44288</c:v>
                </c:pt>
                <c:pt idx="60">
                  <c:v>44295</c:v>
                </c:pt>
                <c:pt idx="61">
                  <c:v>44302</c:v>
                </c:pt>
                <c:pt idx="62">
                  <c:v>44309</c:v>
                </c:pt>
                <c:pt idx="63">
                  <c:v>44316</c:v>
                </c:pt>
                <c:pt idx="64">
                  <c:v>44323</c:v>
                </c:pt>
                <c:pt idx="65">
                  <c:v>44330</c:v>
                </c:pt>
                <c:pt idx="66">
                  <c:v>44337</c:v>
                </c:pt>
                <c:pt idx="67">
                  <c:v>44344</c:v>
                </c:pt>
                <c:pt idx="68">
                  <c:v>44351</c:v>
                </c:pt>
                <c:pt idx="69">
                  <c:v>44358</c:v>
                </c:pt>
                <c:pt idx="70">
                  <c:v>44365</c:v>
                </c:pt>
                <c:pt idx="71">
                  <c:v>44372</c:v>
                </c:pt>
                <c:pt idx="72">
                  <c:v>44379</c:v>
                </c:pt>
                <c:pt idx="73">
                  <c:v>44386</c:v>
                </c:pt>
                <c:pt idx="74">
                  <c:v>44393</c:v>
                </c:pt>
                <c:pt idx="75">
                  <c:v>44400</c:v>
                </c:pt>
                <c:pt idx="76">
                  <c:v>44407</c:v>
                </c:pt>
                <c:pt idx="77">
                  <c:v>44414</c:v>
                </c:pt>
                <c:pt idx="78">
                  <c:v>44421</c:v>
                </c:pt>
                <c:pt idx="79">
                  <c:v>44428</c:v>
                </c:pt>
                <c:pt idx="80">
                  <c:v>44435</c:v>
                </c:pt>
                <c:pt idx="81">
                  <c:v>44442</c:v>
                </c:pt>
                <c:pt idx="82">
                  <c:v>44449</c:v>
                </c:pt>
                <c:pt idx="83">
                  <c:v>44456</c:v>
                </c:pt>
                <c:pt idx="84">
                  <c:v>44463</c:v>
                </c:pt>
                <c:pt idx="85">
                  <c:v>44470</c:v>
                </c:pt>
                <c:pt idx="86">
                  <c:v>44477</c:v>
                </c:pt>
                <c:pt idx="87">
                  <c:v>44484</c:v>
                </c:pt>
                <c:pt idx="88">
                  <c:v>44491</c:v>
                </c:pt>
                <c:pt idx="89">
                  <c:v>44498</c:v>
                </c:pt>
                <c:pt idx="90">
                  <c:v>44505</c:v>
                </c:pt>
                <c:pt idx="91">
                  <c:v>44512</c:v>
                </c:pt>
                <c:pt idx="92">
                  <c:v>44519</c:v>
                </c:pt>
                <c:pt idx="93">
                  <c:v>44526</c:v>
                </c:pt>
                <c:pt idx="94">
                  <c:v>44533</c:v>
                </c:pt>
                <c:pt idx="95">
                  <c:v>44540</c:v>
                </c:pt>
                <c:pt idx="96">
                  <c:v>44547</c:v>
                </c:pt>
                <c:pt idx="97">
                  <c:v>44554</c:v>
                </c:pt>
                <c:pt idx="98">
                  <c:v>44561</c:v>
                </c:pt>
                <c:pt idx="99">
                  <c:v>44568</c:v>
                </c:pt>
                <c:pt idx="100">
                  <c:v>44575</c:v>
                </c:pt>
                <c:pt idx="101">
                  <c:v>44582</c:v>
                </c:pt>
                <c:pt idx="102">
                  <c:v>44589</c:v>
                </c:pt>
                <c:pt idx="103">
                  <c:v>44596</c:v>
                </c:pt>
                <c:pt idx="104">
                  <c:v>44603</c:v>
                </c:pt>
                <c:pt idx="105">
                  <c:v>44610</c:v>
                </c:pt>
                <c:pt idx="106">
                  <c:v>44617</c:v>
                </c:pt>
                <c:pt idx="107">
                  <c:v>44624</c:v>
                </c:pt>
                <c:pt idx="108">
                  <c:v>44631</c:v>
                </c:pt>
                <c:pt idx="109">
                  <c:v>44638</c:v>
                </c:pt>
                <c:pt idx="110">
                  <c:v>44645</c:v>
                </c:pt>
                <c:pt idx="111">
                  <c:v>44652</c:v>
                </c:pt>
                <c:pt idx="112">
                  <c:v>44659</c:v>
                </c:pt>
                <c:pt idx="113">
                  <c:v>44666</c:v>
                </c:pt>
                <c:pt idx="114">
                  <c:v>44673</c:v>
                </c:pt>
                <c:pt idx="115">
                  <c:v>44680</c:v>
                </c:pt>
                <c:pt idx="116">
                  <c:v>44687</c:v>
                </c:pt>
                <c:pt idx="117">
                  <c:v>44694</c:v>
                </c:pt>
                <c:pt idx="118">
                  <c:v>44701</c:v>
                </c:pt>
                <c:pt idx="119">
                  <c:v>44708</c:v>
                </c:pt>
                <c:pt idx="120">
                  <c:v>44715</c:v>
                </c:pt>
                <c:pt idx="121">
                  <c:v>44722</c:v>
                </c:pt>
                <c:pt idx="122">
                  <c:v>44729</c:v>
                </c:pt>
                <c:pt idx="123">
                  <c:v>44736</c:v>
                </c:pt>
                <c:pt idx="124">
                  <c:v>44743</c:v>
                </c:pt>
                <c:pt idx="125">
                  <c:v>44750</c:v>
                </c:pt>
                <c:pt idx="126">
                  <c:v>44757</c:v>
                </c:pt>
                <c:pt idx="127">
                  <c:v>44764</c:v>
                </c:pt>
                <c:pt idx="128">
                  <c:v>44771</c:v>
                </c:pt>
                <c:pt idx="129">
                  <c:v>44778</c:v>
                </c:pt>
                <c:pt idx="130">
                  <c:v>44785</c:v>
                </c:pt>
                <c:pt idx="131">
                  <c:v>44792</c:v>
                </c:pt>
                <c:pt idx="132">
                  <c:v>44799</c:v>
                </c:pt>
                <c:pt idx="133">
                  <c:v>44806</c:v>
                </c:pt>
                <c:pt idx="134">
                  <c:v>44813</c:v>
                </c:pt>
                <c:pt idx="135">
                  <c:v>44820</c:v>
                </c:pt>
                <c:pt idx="136">
                  <c:v>44827</c:v>
                </c:pt>
                <c:pt idx="137">
                  <c:v>44834</c:v>
                </c:pt>
                <c:pt idx="138">
                  <c:v>44841</c:v>
                </c:pt>
                <c:pt idx="139">
                  <c:v>44848</c:v>
                </c:pt>
                <c:pt idx="140">
                  <c:v>44855</c:v>
                </c:pt>
                <c:pt idx="141">
                  <c:v>44862</c:v>
                </c:pt>
                <c:pt idx="142">
                  <c:v>44869</c:v>
                </c:pt>
                <c:pt idx="143">
                  <c:v>44876</c:v>
                </c:pt>
                <c:pt idx="144">
                  <c:v>44883</c:v>
                </c:pt>
                <c:pt idx="145">
                  <c:v>44890</c:v>
                </c:pt>
                <c:pt idx="146">
                  <c:v>44897</c:v>
                </c:pt>
                <c:pt idx="147">
                  <c:v>44904</c:v>
                </c:pt>
                <c:pt idx="148">
                  <c:v>44911</c:v>
                </c:pt>
                <c:pt idx="149">
                  <c:v>44918</c:v>
                </c:pt>
                <c:pt idx="150">
                  <c:v>44925</c:v>
                </c:pt>
                <c:pt idx="151">
                  <c:v>44932</c:v>
                </c:pt>
                <c:pt idx="152">
                  <c:v>44939</c:v>
                </c:pt>
                <c:pt idx="153">
                  <c:v>44946</c:v>
                </c:pt>
                <c:pt idx="154">
                  <c:v>44953</c:v>
                </c:pt>
                <c:pt idx="155">
                  <c:v>44960</c:v>
                </c:pt>
                <c:pt idx="156">
                  <c:v>44967</c:v>
                </c:pt>
                <c:pt idx="157">
                  <c:v>44974</c:v>
                </c:pt>
                <c:pt idx="158">
                  <c:v>44981</c:v>
                </c:pt>
                <c:pt idx="159">
                  <c:v>44988</c:v>
                </c:pt>
                <c:pt idx="160">
                  <c:v>44995</c:v>
                </c:pt>
                <c:pt idx="161">
                  <c:v>45002</c:v>
                </c:pt>
                <c:pt idx="162">
                  <c:v>45009</c:v>
                </c:pt>
                <c:pt idx="163">
                  <c:v>45016</c:v>
                </c:pt>
                <c:pt idx="164">
                  <c:v>45023</c:v>
                </c:pt>
                <c:pt idx="165">
                  <c:v>45030</c:v>
                </c:pt>
                <c:pt idx="166">
                  <c:v>45037</c:v>
                </c:pt>
                <c:pt idx="167">
                  <c:v>45044</c:v>
                </c:pt>
                <c:pt idx="168">
                  <c:v>45051</c:v>
                </c:pt>
                <c:pt idx="169">
                  <c:v>45058</c:v>
                </c:pt>
                <c:pt idx="170">
                  <c:v>45065</c:v>
                </c:pt>
                <c:pt idx="171">
                  <c:v>45072</c:v>
                </c:pt>
                <c:pt idx="172">
                  <c:v>45079</c:v>
                </c:pt>
                <c:pt idx="173">
                  <c:v>45086</c:v>
                </c:pt>
                <c:pt idx="174">
                  <c:v>45093</c:v>
                </c:pt>
                <c:pt idx="175">
                  <c:v>45100</c:v>
                </c:pt>
                <c:pt idx="176">
                  <c:v>45107</c:v>
                </c:pt>
                <c:pt idx="177">
                  <c:v>45114</c:v>
                </c:pt>
                <c:pt idx="178">
                  <c:v>45121</c:v>
                </c:pt>
                <c:pt idx="179">
                  <c:v>45128</c:v>
                </c:pt>
                <c:pt idx="180">
                  <c:v>45135</c:v>
                </c:pt>
                <c:pt idx="181">
                  <c:v>45142</c:v>
                </c:pt>
                <c:pt idx="182">
                  <c:v>45149</c:v>
                </c:pt>
                <c:pt idx="183">
                  <c:v>45156</c:v>
                </c:pt>
                <c:pt idx="184">
                  <c:v>45163</c:v>
                </c:pt>
                <c:pt idx="185">
                  <c:v>45170</c:v>
                </c:pt>
                <c:pt idx="186">
                  <c:v>45177</c:v>
                </c:pt>
                <c:pt idx="187">
                  <c:v>45184</c:v>
                </c:pt>
                <c:pt idx="188">
                  <c:v>45191</c:v>
                </c:pt>
                <c:pt idx="189">
                  <c:v>45198</c:v>
                </c:pt>
                <c:pt idx="190">
                  <c:v>45205</c:v>
                </c:pt>
                <c:pt idx="191">
                  <c:v>45212</c:v>
                </c:pt>
                <c:pt idx="192">
                  <c:v>45219</c:v>
                </c:pt>
                <c:pt idx="193">
                  <c:v>45226</c:v>
                </c:pt>
                <c:pt idx="194">
                  <c:v>45233</c:v>
                </c:pt>
                <c:pt idx="195">
                  <c:v>45240</c:v>
                </c:pt>
                <c:pt idx="196">
                  <c:v>45247</c:v>
                </c:pt>
                <c:pt idx="197">
                  <c:v>45254</c:v>
                </c:pt>
                <c:pt idx="198">
                  <c:v>45261</c:v>
                </c:pt>
                <c:pt idx="199">
                  <c:v>45268</c:v>
                </c:pt>
                <c:pt idx="200">
                  <c:v>45275</c:v>
                </c:pt>
                <c:pt idx="201">
                  <c:v>45282</c:v>
                </c:pt>
                <c:pt idx="202">
                  <c:v>45289</c:v>
                </c:pt>
                <c:pt idx="203">
                  <c:v>45296</c:v>
                </c:pt>
                <c:pt idx="204">
                  <c:v>45303</c:v>
                </c:pt>
                <c:pt idx="205">
                  <c:v>45310</c:v>
                </c:pt>
                <c:pt idx="206">
                  <c:v>45317</c:v>
                </c:pt>
                <c:pt idx="207">
                  <c:v>45324</c:v>
                </c:pt>
                <c:pt idx="208">
                  <c:v>45331</c:v>
                </c:pt>
                <c:pt idx="209">
                  <c:v>45338</c:v>
                </c:pt>
                <c:pt idx="210">
                  <c:v>45345</c:v>
                </c:pt>
                <c:pt idx="211">
                  <c:v>45352</c:v>
                </c:pt>
                <c:pt idx="212">
                  <c:v>45359</c:v>
                </c:pt>
                <c:pt idx="213">
                  <c:v>45366</c:v>
                </c:pt>
                <c:pt idx="214">
                  <c:v>45373</c:v>
                </c:pt>
                <c:pt idx="215">
                  <c:v>45380</c:v>
                </c:pt>
                <c:pt idx="216">
                  <c:v>45387</c:v>
                </c:pt>
                <c:pt idx="217">
                  <c:v>45394</c:v>
                </c:pt>
                <c:pt idx="218">
                  <c:v>45401</c:v>
                </c:pt>
                <c:pt idx="219">
                  <c:v>45408</c:v>
                </c:pt>
                <c:pt idx="220">
                  <c:v>45415</c:v>
                </c:pt>
                <c:pt idx="221">
                  <c:v>45422</c:v>
                </c:pt>
                <c:pt idx="222">
                  <c:v>45429</c:v>
                </c:pt>
                <c:pt idx="223">
                  <c:v>45436</c:v>
                </c:pt>
                <c:pt idx="224">
                  <c:v>45443</c:v>
                </c:pt>
                <c:pt idx="225">
                  <c:v>45450</c:v>
                </c:pt>
                <c:pt idx="226">
                  <c:v>45457</c:v>
                </c:pt>
                <c:pt idx="227">
                  <c:v>45464</c:v>
                </c:pt>
                <c:pt idx="228">
                  <c:v>45471</c:v>
                </c:pt>
                <c:pt idx="229">
                  <c:v>45478</c:v>
                </c:pt>
                <c:pt idx="230">
                  <c:v>45485</c:v>
                </c:pt>
                <c:pt idx="231">
                  <c:v>45492</c:v>
                </c:pt>
                <c:pt idx="232">
                  <c:v>45499</c:v>
                </c:pt>
                <c:pt idx="233">
                  <c:v>45506</c:v>
                </c:pt>
                <c:pt idx="234">
                  <c:v>45513</c:v>
                </c:pt>
                <c:pt idx="235">
                  <c:v>45520</c:v>
                </c:pt>
                <c:pt idx="236">
                  <c:v>45527</c:v>
                </c:pt>
                <c:pt idx="237">
                  <c:v>45534</c:v>
                </c:pt>
                <c:pt idx="238">
                  <c:v>45541</c:v>
                </c:pt>
                <c:pt idx="239">
                  <c:v>45548</c:v>
                </c:pt>
                <c:pt idx="240">
                  <c:v>45555</c:v>
                </c:pt>
                <c:pt idx="241">
                  <c:v>45562</c:v>
                </c:pt>
                <c:pt idx="242">
                  <c:v>45569</c:v>
                </c:pt>
                <c:pt idx="243">
                  <c:v>45576</c:v>
                </c:pt>
                <c:pt idx="244">
                  <c:v>45583</c:v>
                </c:pt>
                <c:pt idx="245">
                  <c:v>45590</c:v>
                </c:pt>
                <c:pt idx="246">
                  <c:v>45597</c:v>
                </c:pt>
                <c:pt idx="247">
                  <c:v>45604</c:v>
                </c:pt>
                <c:pt idx="248">
                  <c:v>45611</c:v>
                </c:pt>
                <c:pt idx="249">
                  <c:v>45618</c:v>
                </c:pt>
                <c:pt idx="250">
                  <c:v>45625</c:v>
                </c:pt>
                <c:pt idx="251">
                  <c:v>45632</c:v>
                </c:pt>
                <c:pt idx="252">
                  <c:v>45639</c:v>
                </c:pt>
                <c:pt idx="253">
                  <c:v>45646</c:v>
                </c:pt>
                <c:pt idx="254">
                  <c:v>45653</c:v>
                </c:pt>
                <c:pt idx="255">
                  <c:v>45660</c:v>
                </c:pt>
                <c:pt idx="256">
                  <c:v>45667</c:v>
                </c:pt>
                <c:pt idx="257">
                  <c:v>45674</c:v>
                </c:pt>
                <c:pt idx="258">
                  <c:v>45681</c:v>
                </c:pt>
                <c:pt idx="259">
                  <c:v>45688</c:v>
                </c:pt>
                <c:pt idx="260">
                  <c:v>45695</c:v>
                </c:pt>
                <c:pt idx="261">
                  <c:v>45702</c:v>
                </c:pt>
                <c:pt idx="262">
                  <c:v>45709</c:v>
                </c:pt>
                <c:pt idx="263">
                  <c:v>45716</c:v>
                </c:pt>
                <c:pt idx="264">
                  <c:v>45723</c:v>
                </c:pt>
                <c:pt idx="265">
                  <c:v>45730</c:v>
                </c:pt>
                <c:pt idx="266">
                  <c:v>45737</c:v>
                </c:pt>
                <c:pt idx="267">
                  <c:v>45744</c:v>
                </c:pt>
                <c:pt idx="268">
                  <c:v>45751</c:v>
                </c:pt>
                <c:pt idx="269">
                  <c:v>45758</c:v>
                </c:pt>
                <c:pt idx="270">
                  <c:v>45765</c:v>
                </c:pt>
                <c:pt idx="271">
                  <c:v>45772</c:v>
                </c:pt>
                <c:pt idx="272">
                  <c:v>45779</c:v>
                </c:pt>
                <c:pt idx="273">
                  <c:v>45786</c:v>
                </c:pt>
                <c:pt idx="274">
                  <c:v>45793</c:v>
                </c:pt>
                <c:pt idx="275">
                  <c:v>45800</c:v>
                </c:pt>
                <c:pt idx="276">
                  <c:v>45807</c:v>
                </c:pt>
                <c:pt idx="277">
                  <c:v>45814</c:v>
                </c:pt>
                <c:pt idx="278">
                  <c:v>45821</c:v>
                </c:pt>
                <c:pt idx="279">
                  <c:v>45828</c:v>
                </c:pt>
                <c:pt idx="280">
                  <c:v>45835</c:v>
                </c:pt>
                <c:pt idx="281">
                  <c:v>45842</c:v>
                </c:pt>
                <c:pt idx="282">
                  <c:v>45849</c:v>
                </c:pt>
                <c:pt idx="283">
                  <c:v>45856</c:v>
                </c:pt>
                <c:pt idx="284">
                  <c:v>45863</c:v>
                </c:pt>
                <c:pt idx="285">
                  <c:v>45870</c:v>
                </c:pt>
                <c:pt idx="286">
                  <c:v>45877</c:v>
                </c:pt>
                <c:pt idx="287">
                  <c:v>45884</c:v>
                </c:pt>
                <c:pt idx="288">
                  <c:v>45891</c:v>
                </c:pt>
                <c:pt idx="289">
                  <c:v>45898</c:v>
                </c:pt>
                <c:pt idx="290">
                  <c:v>45905</c:v>
                </c:pt>
                <c:pt idx="291">
                  <c:v>45912</c:v>
                </c:pt>
                <c:pt idx="292">
                  <c:v>45919</c:v>
                </c:pt>
                <c:pt idx="293">
                  <c:v>45926</c:v>
                </c:pt>
                <c:pt idx="294">
                  <c:v>45933</c:v>
                </c:pt>
                <c:pt idx="295">
                  <c:v>45940</c:v>
                </c:pt>
                <c:pt idx="296">
                  <c:v>45947</c:v>
                </c:pt>
                <c:pt idx="297">
                  <c:v>45954</c:v>
                </c:pt>
                <c:pt idx="298">
                  <c:v>45961</c:v>
                </c:pt>
                <c:pt idx="299">
                  <c:v>45968</c:v>
                </c:pt>
                <c:pt idx="300">
                  <c:v>45975</c:v>
                </c:pt>
                <c:pt idx="301">
                  <c:v>45982</c:v>
                </c:pt>
                <c:pt idx="302">
                  <c:v>45989</c:v>
                </c:pt>
                <c:pt idx="303">
                  <c:v>45996</c:v>
                </c:pt>
                <c:pt idx="304">
                  <c:v>46003</c:v>
                </c:pt>
              </c:numCache>
            </c:numRef>
          </c:cat>
          <c:val>
            <c:numRef>
              <c:f>'指数合成-1.0'!$DI$67:$DI$371</c:f>
              <c:numCache>
                <c:formatCode>0.0</c:formatCode>
                <c:ptCount val="305"/>
                <c:pt idx="0">
                  <c:v>-66.688870269215897</c:v>
                </c:pt>
                <c:pt idx="1">
                  <c:v>-74.446336385079491</c:v>
                </c:pt>
                <c:pt idx="2">
                  <c:v>-71.36803747305234</c:v>
                </c:pt>
                <c:pt idx="3">
                  <c:v>-63.238259037801001</c:v>
                </c:pt>
                <c:pt idx="4">
                  <c:v>-51.609485236713802</c:v>
                </c:pt>
                <c:pt idx="5">
                  <c:v>-39.518988444191258</c:v>
                </c:pt>
                <c:pt idx="6">
                  <c:v>-29.745971532308928</c:v>
                </c:pt>
                <c:pt idx="7">
                  <c:v>-21.014053433716271</c:v>
                </c:pt>
                <c:pt idx="8">
                  <c:v>-13.533193615947567</c:v>
                </c:pt>
                <c:pt idx="9">
                  <c:v>-10.405368103868312</c:v>
                </c:pt>
                <c:pt idx="10">
                  <c:v>-7.4436602006800854</c:v>
                </c:pt>
                <c:pt idx="11">
                  <c:v>-2.6502974133793487</c:v>
                </c:pt>
                <c:pt idx="12">
                  <c:v>-0.20989798197935272</c:v>
                </c:pt>
                <c:pt idx="13">
                  <c:v>2.2442442413199331</c:v>
                </c:pt>
                <c:pt idx="14">
                  <c:v>3.573902245829558</c:v>
                </c:pt>
                <c:pt idx="15">
                  <c:v>3.1629745245845129</c:v>
                </c:pt>
                <c:pt idx="16">
                  <c:v>4.7876410050933202</c:v>
                </c:pt>
                <c:pt idx="17">
                  <c:v>3.7324591932893725</c:v>
                </c:pt>
                <c:pt idx="18">
                  <c:v>4.1997053889116387</c:v>
                </c:pt>
                <c:pt idx="19">
                  <c:v>3.5576378482408302</c:v>
                </c:pt>
                <c:pt idx="20">
                  <c:v>1.4596671803569023</c:v>
                </c:pt>
                <c:pt idx="21">
                  <c:v>2.9537454724276131</c:v>
                </c:pt>
                <c:pt idx="22">
                  <c:v>3.8612663441125505</c:v>
                </c:pt>
                <c:pt idx="23">
                  <c:v>5.0505812003465564</c:v>
                </c:pt>
                <c:pt idx="24">
                  <c:v>7.7096800890496695</c:v>
                </c:pt>
                <c:pt idx="25">
                  <c:v>10.558705618249547</c:v>
                </c:pt>
                <c:pt idx="26">
                  <c:v>15.442371603991106</c:v>
                </c:pt>
                <c:pt idx="27">
                  <c:v>19.105973294650752</c:v>
                </c:pt>
                <c:pt idx="28">
                  <c:v>19.971915883636697</c:v>
                </c:pt>
                <c:pt idx="29">
                  <c:v>18.775459113987608</c:v>
                </c:pt>
                <c:pt idx="30">
                  <c:v>13.875231348107192</c:v>
                </c:pt>
                <c:pt idx="31">
                  <c:v>12.01213388828144</c:v>
                </c:pt>
                <c:pt idx="32">
                  <c:v>12.998808218483731</c:v>
                </c:pt>
                <c:pt idx="33">
                  <c:v>19.897901048837795</c:v>
                </c:pt>
                <c:pt idx="34">
                  <c:v>20.047054058390472</c:v>
                </c:pt>
                <c:pt idx="35">
                  <c:v>19.184477088357198</c:v>
                </c:pt>
                <c:pt idx="36">
                  <c:v>19.413560964224217</c:v>
                </c:pt>
                <c:pt idx="37">
                  <c:v>13.559037427499646</c:v>
                </c:pt>
                <c:pt idx="38">
                  <c:v>16.229442128133726</c:v>
                </c:pt>
                <c:pt idx="39">
                  <c:v>18.414925436689927</c:v>
                </c:pt>
                <c:pt idx="40">
                  <c:v>17.82027922480971</c:v>
                </c:pt>
                <c:pt idx="41">
                  <c:v>17.229995031406105</c:v>
                </c:pt>
                <c:pt idx="42">
                  <c:v>13.19596199287507</c:v>
                </c:pt>
                <c:pt idx="43">
                  <c:v>9.6752159959991246</c:v>
                </c:pt>
                <c:pt idx="44">
                  <c:v>4.6649144149582469</c:v>
                </c:pt>
                <c:pt idx="45">
                  <c:v>0.10342893848698509</c:v>
                </c:pt>
                <c:pt idx="46">
                  <c:v>-0.6776678398151148</c:v>
                </c:pt>
                <c:pt idx="47">
                  <c:v>0.48910010751212951</c:v>
                </c:pt>
                <c:pt idx="48">
                  <c:v>9.0561263983127702</c:v>
                </c:pt>
                <c:pt idx="49">
                  <c:v>26.939311346030109</c:v>
                </c:pt>
                <c:pt idx="50">
                  <c:v>59.064831601980728</c:v>
                </c:pt>
                <c:pt idx="51">
                  <c:v>109.45508878279097</c:v>
                </c:pt>
                <c:pt idx="52">
                  <c:v>191.12827757898793</c:v>
                </c:pt>
                <c:pt idx="53">
                  <c:v>218.9040859377011</c:v>
                </c:pt>
                <c:pt idx="54">
                  <c:v>144.91085353612885</c:v>
                </c:pt>
                <c:pt idx="55">
                  <c:v>95.367637733046706</c:v>
                </c:pt>
                <c:pt idx="56">
                  <c:v>64.060873014727662</c:v>
                </c:pt>
                <c:pt idx="57">
                  <c:v>47.004025085243455</c:v>
                </c:pt>
                <c:pt idx="58">
                  <c:v>35.936126787508925</c:v>
                </c:pt>
                <c:pt idx="59">
                  <c:v>27.123146769109468</c:v>
                </c:pt>
                <c:pt idx="60">
                  <c:v>21.021993102772058</c:v>
                </c:pt>
                <c:pt idx="61">
                  <c:v>17.772348841564252</c:v>
                </c:pt>
                <c:pt idx="62">
                  <c:v>14.427861425270194</c:v>
                </c:pt>
                <c:pt idx="63">
                  <c:v>9.5560450167358368</c:v>
                </c:pt>
                <c:pt idx="64">
                  <c:v>3.7176536404752483</c:v>
                </c:pt>
                <c:pt idx="65">
                  <c:v>1.3646456639798288</c:v>
                </c:pt>
                <c:pt idx="66">
                  <c:v>-2.7266462366223863</c:v>
                </c:pt>
                <c:pt idx="67">
                  <c:v>-6.6243943757163066</c:v>
                </c:pt>
                <c:pt idx="68">
                  <c:v>-7.5164921184481983</c:v>
                </c:pt>
                <c:pt idx="69">
                  <c:v>-10.093161646513295</c:v>
                </c:pt>
                <c:pt idx="70">
                  <c:v>-12.764064866487686</c:v>
                </c:pt>
                <c:pt idx="71">
                  <c:v>-12.476078631254552</c:v>
                </c:pt>
                <c:pt idx="72">
                  <c:v>-15.214970721118178</c:v>
                </c:pt>
                <c:pt idx="73">
                  <c:v>-18.925181585039383</c:v>
                </c:pt>
                <c:pt idx="74">
                  <c:v>-18.841584417594291</c:v>
                </c:pt>
                <c:pt idx="75">
                  <c:v>-20.129832863434956</c:v>
                </c:pt>
                <c:pt idx="76">
                  <c:v>-20.46161279365937</c:v>
                </c:pt>
                <c:pt idx="77">
                  <c:v>-20.125139423681901</c:v>
                </c:pt>
                <c:pt idx="78">
                  <c:v>-20.499229268244207</c:v>
                </c:pt>
                <c:pt idx="79">
                  <c:v>-22.044329556193787</c:v>
                </c:pt>
                <c:pt idx="80">
                  <c:v>-21.899634462498341</c:v>
                </c:pt>
                <c:pt idx="81">
                  <c:v>-22.658487894924022</c:v>
                </c:pt>
                <c:pt idx="82">
                  <c:v>-24.298616955931379</c:v>
                </c:pt>
                <c:pt idx="83">
                  <c:v>-25.043795341297482</c:v>
                </c:pt>
                <c:pt idx="84">
                  <c:v>-26.942384202107377</c:v>
                </c:pt>
                <c:pt idx="85">
                  <c:v>-27.350879513639953</c:v>
                </c:pt>
                <c:pt idx="86">
                  <c:v>-26.015885980286612</c:v>
                </c:pt>
                <c:pt idx="87">
                  <c:v>-26.172576988317417</c:v>
                </c:pt>
                <c:pt idx="88">
                  <c:v>-25.845701758731281</c:v>
                </c:pt>
                <c:pt idx="89">
                  <c:v>-26.927942785042234</c:v>
                </c:pt>
                <c:pt idx="90">
                  <c:v>-29.59844469604046</c:v>
                </c:pt>
                <c:pt idx="91">
                  <c:v>-30.804476379179803</c:v>
                </c:pt>
                <c:pt idx="92">
                  <c:v>-30.785664019166518</c:v>
                </c:pt>
                <c:pt idx="93">
                  <c:v>-28.454474613734988</c:v>
                </c:pt>
                <c:pt idx="94">
                  <c:v>-24.878690164460224</c:v>
                </c:pt>
                <c:pt idx="95">
                  <c:v>-22.491629585049893</c:v>
                </c:pt>
                <c:pt idx="96">
                  <c:v>-19.385370844222038</c:v>
                </c:pt>
                <c:pt idx="97">
                  <c:v>-16.763990853965453</c:v>
                </c:pt>
                <c:pt idx="98">
                  <c:v>-16.424360852295123</c:v>
                </c:pt>
                <c:pt idx="99">
                  <c:v>-18.241476175350485</c:v>
                </c:pt>
                <c:pt idx="100">
                  <c:v>-20.651591048020464</c:v>
                </c:pt>
                <c:pt idx="101">
                  <c:v>-25.944496012866509</c:v>
                </c:pt>
                <c:pt idx="102">
                  <c:v>-36.089461649168527</c:v>
                </c:pt>
                <c:pt idx="103">
                  <c:v>-43.961237797692696</c:v>
                </c:pt>
                <c:pt idx="104">
                  <c:v>-52.019812658470855</c:v>
                </c:pt>
                <c:pt idx="105">
                  <c:v>-51.184863879899076</c:v>
                </c:pt>
                <c:pt idx="106">
                  <c:v>-35.446110232279722</c:v>
                </c:pt>
                <c:pt idx="107">
                  <c:v>-21.508598615143853</c:v>
                </c:pt>
                <c:pt idx="108">
                  <c:v>-16.228574249817157</c:v>
                </c:pt>
                <c:pt idx="109">
                  <c:v>-23.817603957483584</c:v>
                </c:pt>
                <c:pt idx="110">
                  <c:v>-28.885341569106345</c:v>
                </c:pt>
                <c:pt idx="111">
                  <c:v>-33.186199743336857</c:v>
                </c:pt>
                <c:pt idx="112">
                  <c:v>-39.227095812246048</c:v>
                </c:pt>
                <c:pt idx="113">
                  <c:v>-39.539819693604137</c:v>
                </c:pt>
                <c:pt idx="114">
                  <c:v>-39.150635047510463</c:v>
                </c:pt>
                <c:pt idx="115">
                  <c:v>-39.649023011604122</c:v>
                </c:pt>
                <c:pt idx="116">
                  <c:v>-38.246773504222233</c:v>
                </c:pt>
                <c:pt idx="117">
                  <c:v>-37.704544339958531</c:v>
                </c:pt>
                <c:pt idx="118">
                  <c:v>-37.237599803480784</c:v>
                </c:pt>
                <c:pt idx="119">
                  <c:v>-33.473772399632665</c:v>
                </c:pt>
                <c:pt idx="120">
                  <c:v>-30.377100688937063</c:v>
                </c:pt>
                <c:pt idx="121">
                  <c:v>-28.513792377665993</c:v>
                </c:pt>
                <c:pt idx="122">
                  <c:v>-24.982987054683505</c:v>
                </c:pt>
                <c:pt idx="123">
                  <c:v>-24.057584552139303</c:v>
                </c:pt>
                <c:pt idx="124">
                  <c:v>-18.731601421619743</c:v>
                </c:pt>
                <c:pt idx="125">
                  <c:v>-11.93871152760768</c:v>
                </c:pt>
                <c:pt idx="126">
                  <c:v>-9.5164271549673742</c:v>
                </c:pt>
                <c:pt idx="127">
                  <c:v>-5.9911873470068429</c:v>
                </c:pt>
                <c:pt idx="128">
                  <c:v>-5.5779543360163331</c:v>
                </c:pt>
                <c:pt idx="129">
                  <c:v>-7.251407911258994</c:v>
                </c:pt>
                <c:pt idx="130">
                  <c:v>-7.9063562018671121</c:v>
                </c:pt>
                <c:pt idx="131">
                  <c:v>-8.9200384265682828</c:v>
                </c:pt>
                <c:pt idx="132">
                  <c:v>-11.35937320996014</c:v>
                </c:pt>
                <c:pt idx="133">
                  <c:v>-11.163566223312344</c:v>
                </c:pt>
                <c:pt idx="134">
                  <c:v>-9.131932806744615</c:v>
                </c:pt>
                <c:pt idx="135">
                  <c:v>-7.8479565264930216</c:v>
                </c:pt>
                <c:pt idx="136">
                  <c:v>-3.4366057768180127</c:v>
                </c:pt>
                <c:pt idx="137">
                  <c:v>0.10310881936047167</c:v>
                </c:pt>
                <c:pt idx="138">
                  <c:v>-3.376480064885456</c:v>
                </c:pt>
                <c:pt idx="139">
                  <c:v>-0.97053749326657623</c:v>
                </c:pt>
                <c:pt idx="140">
                  <c:v>-2.6784962184252379</c:v>
                </c:pt>
                <c:pt idx="141">
                  <c:v>-5.228253889249288</c:v>
                </c:pt>
                <c:pt idx="142">
                  <c:v>-1.7899206499270406</c:v>
                </c:pt>
                <c:pt idx="143">
                  <c:v>-2.4567796122752839</c:v>
                </c:pt>
                <c:pt idx="144">
                  <c:v>-1.9544210089384393</c:v>
                </c:pt>
                <c:pt idx="145">
                  <c:v>-3.3014561573532006</c:v>
                </c:pt>
                <c:pt idx="146">
                  <c:v>-5.3551540847171424</c:v>
                </c:pt>
                <c:pt idx="147">
                  <c:v>-7.2024164767365448</c:v>
                </c:pt>
                <c:pt idx="148">
                  <c:v>-9.6023826359201365</c:v>
                </c:pt>
                <c:pt idx="149">
                  <c:v>-12.061968512886651</c:v>
                </c:pt>
                <c:pt idx="150">
                  <c:v>-14.404487977768383</c:v>
                </c:pt>
                <c:pt idx="151">
                  <c:v>-17.697858766801531</c:v>
                </c:pt>
                <c:pt idx="152">
                  <c:v>-25.838949132399151</c:v>
                </c:pt>
                <c:pt idx="153">
                  <c:v>-36.064706065493354</c:v>
                </c:pt>
                <c:pt idx="154">
                  <c:v>-42.528340351505321</c:v>
                </c:pt>
                <c:pt idx="155">
                  <c:v>-43.713916873602699</c:v>
                </c:pt>
                <c:pt idx="156">
                  <c:v>-10.306976679398389</c:v>
                </c:pt>
                <c:pt idx="157">
                  <c:v>56.82624144181176</c:v>
                </c:pt>
                <c:pt idx="158">
                  <c:v>84.62923694497286</c:v>
                </c:pt>
                <c:pt idx="159">
                  <c:v>69.94956783204259</c:v>
                </c:pt>
                <c:pt idx="160">
                  <c:v>40.019085138491846</c:v>
                </c:pt>
                <c:pt idx="161">
                  <c:v>29.079884584397774</c:v>
                </c:pt>
                <c:pt idx="162">
                  <c:v>21.940755993065864</c:v>
                </c:pt>
                <c:pt idx="163">
                  <c:v>20.229371285576974</c:v>
                </c:pt>
                <c:pt idx="164">
                  <c:v>24.397302835928244</c:v>
                </c:pt>
                <c:pt idx="165">
                  <c:v>22.242720064234462</c:v>
                </c:pt>
                <c:pt idx="166">
                  <c:v>21.335560597587033</c:v>
                </c:pt>
                <c:pt idx="167">
                  <c:v>21.311556301726228</c:v>
                </c:pt>
                <c:pt idx="168">
                  <c:v>16.956136587480472</c:v>
                </c:pt>
                <c:pt idx="169">
                  <c:v>15.97580204620877</c:v>
                </c:pt>
                <c:pt idx="170">
                  <c:v>15.408715517768499</c:v>
                </c:pt>
                <c:pt idx="171">
                  <c:v>12.376993540303189</c:v>
                </c:pt>
                <c:pt idx="172">
                  <c:v>12.61801070011235</c:v>
                </c:pt>
                <c:pt idx="173">
                  <c:v>13.492080400806316</c:v>
                </c:pt>
                <c:pt idx="174">
                  <c:v>11.54330155035899</c:v>
                </c:pt>
                <c:pt idx="175">
                  <c:v>9.7353139445206125</c:v>
                </c:pt>
                <c:pt idx="176">
                  <c:v>5.1971359748303314</c:v>
                </c:pt>
                <c:pt idx="177">
                  <c:v>0.40797100650078733</c:v>
                </c:pt>
                <c:pt idx="178">
                  <c:v>-2.1864436014330124</c:v>
                </c:pt>
                <c:pt idx="179">
                  <c:v>-4.07384830451808</c:v>
                </c:pt>
                <c:pt idx="180">
                  <c:v>-3.7807003687899083</c:v>
                </c:pt>
                <c:pt idx="181">
                  <c:v>-4.0299006357851113</c:v>
                </c:pt>
                <c:pt idx="182">
                  <c:v>-2.6665803886375556</c:v>
                </c:pt>
                <c:pt idx="183">
                  <c:v>1.1338826361718617</c:v>
                </c:pt>
                <c:pt idx="184">
                  <c:v>4.4729118329894533</c:v>
                </c:pt>
                <c:pt idx="185">
                  <c:v>6.8824785694431796</c:v>
                </c:pt>
                <c:pt idx="186">
                  <c:v>8.7850418414781046</c:v>
                </c:pt>
                <c:pt idx="187">
                  <c:v>8.0257183402143681</c:v>
                </c:pt>
                <c:pt idx="188">
                  <c:v>4.3035285863485484</c:v>
                </c:pt>
                <c:pt idx="189">
                  <c:v>-0.99228377031045056</c:v>
                </c:pt>
                <c:pt idx="190">
                  <c:v>-4.2933089975480812</c:v>
                </c:pt>
                <c:pt idx="191">
                  <c:v>-8.3845408127115206</c:v>
                </c:pt>
                <c:pt idx="192">
                  <c:v>-7.5589105969230559</c:v>
                </c:pt>
                <c:pt idx="193">
                  <c:v>-3.0564492481788932</c:v>
                </c:pt>
                <c:pt idx="194">
                  <c:v>-1.3998813368924345</c:v>
                </c:pt>
                <c:pt idx="195">
                  <c:v>-0.33828209842477008</c:v>
                </c:pt>
                <c:pt idx="196">
                  <c:v>-3.2063028228246537</c:v>
                </c:pt>
                <c:pt idx="197">
                  <c:v>-4.912911511776926</c:v>
                </c:pt>
                <c:pt idx="198">
                  <c:v>-5.9340355087178125</c:v>
                </c:pt>
                <c:pt idx="199">
                  <c:v>-4.8085156084998175</c:v>
                </c:pt>
                <c:pt idx="200">
                  <c:v>-2.2563811069227455</c:v>
                </c:pt>
                <c:pt idx="201">
                  <c:v>-1.4413721123311234</c:v>
                </c:pt>
                <c:pt idx="202">
                  <c:v>0.56346721629607543</c:v>
                </c:pt>
                <c:pt idx="203">
                  <c:v>4.5507882118206169</c:v>
                </c:pt>
                <c:pt idx="204">
                  <c:v>18.243874203085227</c:v>
                </c:pt>
                <c:pt idx="205">
                  <c:v>46.549470089234944</c:v>
                </c:pt>
                <c:pt idx="206">
                  <c:v>91.219916685610769</c:v>
                </c:pt>
                <c:pt idx="207">
                  <c:v>131.2330681655026</c:v>
                </c:pt>
                <c:pt idx="208">
                  <c:v>60.022419603217514</c:v>
                </c:pt>
                <c:pt idx="209">
                  <c:v>-22.095513405300878</c:v>
                </c:pt>
                <c:pt idx="210">
                  <c:v>-57.123867144571314</c:v>
                </c:pt>
                <c:pt idx="211">
                  <c:v>-63.701590035659535</c:v>
                </c:pt>
                <c:pt idx="212">
                  <c:v>-53.88540491995596</c:v>
                </c:pt>
                <c:pt idx="213">
                  <c:v>-38.475871173929676</c:v>
                </c:pt>
                <c:pt idx="214">
                  <c:v>-27.015178028742071</c:v>
                </c:pt>
                <c:pt idx="215">
                  <c:v>-20.318425304368759</c:v>
                </c:pt>
                <c:pt idx="216">
                  <c:v>-16.335795367877139</c:v>
                </c:pt>
                <c:pt idx="217">
                  <c:v>-14.613956300547997</c:v>
                </c:pt>
                <c:pt idx="218">
                  <c:v>-15.440235419688264</c:v>
                </c:pt>
                <c:pt idx="219">
                  <c:v>-16.704373369186172</c:v>
                </c:pt>
                <c:pt idx="220">
                  <c:v>-14.947461504257717</c:v>
                </c:pt>
                <c:pt idx="221">
                  <c:v>-17.539592253811662</c:v>
                </c:pt>
                <c:pt idx="222">
                  <c:v>-15.212404994765578</c:v>
                </c:pt>
                <c:pt idx="223">
                  <c:v>-12.496755680423021</c:v>
                </c:pt>
                <c:pt idx="224">
                  <c:v>-14.055465270242706</c:v>
                </c:pt>
                <c:pt idx="225">
                  <c:v>-12.563659577194827</c:v>
                </c:pt>
                <c:pt idx="226">
                  <c:v>-16.943662778133529</c:v>
                </c:pt>
                <c:pt idx="227">
                  <c:v>-20.056369280694312</c:v>
                </c:pt>
                <c:pt idx="228">
                  <c:v>-19.647098308043738</c:v>
                </c:pt>
                <c:pt idx="229">
                  <c:v>-19.232648152761911</c:v>
                </c:pt>
                <c:pt idx="230">
                  <c:v>-17.702238688148213</c:v>
                </c:pt>
                <c:pt idx="231">
                  <c:v>-17.60325871399435</c:v>
                </c:pt>
                <c:pt idx="232">
                  <c:v>-20.478505851702607</c:v>
                </c:pt>
                <c:pt idx="233">
                  <c:v>-22.239511900641432</c:v>
                </c:pt>
                <c:pt idx="234">
                  <c:v>-25.634038771222635</c:v>
                </c:pt>
                <c:pt idx="235">
                  <c:v>-28.4727066017781</c:v>
                </c:pt>
                <c:pt idx="236">
                  <c:v>-30.361196634388492</c:v>
                </c:pt>
                <c:pt idx="237">
                  <c:v>-30.516234535118855</c:v>
                </c:pt>
                <c:pt idx="238">
                  <c:v>-30.437220984552724</c:v>
                </c:pt>
                <c:pt idx="239">
                  <c:v>-29.27791722802958</c:v>
                </c:pt>
                <c:pt idx="240">
                  <c:v>-28.282975200602493</c:v>
                </c:pt>
                <c:pt idx="241">
                  <c:v>-26.986420928349034</c:v>
                </c:pt>
                <c:pt idx="242">
                  <c:v>-22.748691417636365</c:v>
                </c:pt>
                <c:pt idx="243">
                  <c:v>-21.197100773642333</c:v>
                </c:pt>
                <c:pt idx="244">
                  <c:v>-18.237299066220388</c:v>
                </c:pt>
                <c:pt idx="245">
                  <c:v>-17.624122849284035</c:v>
                </c:pt>
                <c:pt idx="246">
                  <c:v>-18.29160392880685</c:v>
                </c:pt>
                <c:pt idx="247">
                  <c:v>-17.156701536544134</c:v>
                </c:pt>
                <c:pt idx="248">
                  <c:v>-15.670926026151889</c:v>
                </c:pt>
                <c:pt idx="249">
                  <c:v>-13.904340992356666</c:v>
                </c:pt>
                <c:pt idx="250">
                  <c:v>-12.372405459734154</c:v>
                </c:pt>
                <c:pt idx="251">
                  <c:v>-11.346458148483563</c:v>
                </c:pt>
                <c:pt idx="252">
                  <c:v>-10.619199898473596</c:v>
                </c:pt>
                <c:pt idx="253">
                  <c:v>-7.5725056704816609</c:v>
                </c:pt>
                <c:pt idx="254">
                  <c:v>-4.3264706154722887</c:v>
                </c:pt>
                <c:pt idx="255">
                  <c:v>-1.8990394129463226</c:v>
                </c:pt>
                <c:pt idx="256">
                  <c:v>-2.2916117609388778</c:v>
                </c:pt>
                <c:pt idx="257">
                  <c:v>-4.7542971652744797</c:v>
                </c:pt>
                <c:pt idx="258">
                  <c:v>-14.028612218367229</c:v>
                </c:pt>
                <c:pt idx="259">
                  <c:v>-24.604485225478825</c:v>
                </c:pt>
                <c:pt idx="260">
                  <c:v>-28.469513022907492</c:v>
                </c:pt>
                <c:pt idx="261">
                  <c:v>-9.6376402983949419</c:v>
                </c:pt>
                <c:pt idx="262">
                  <c:v>36.177241448083009</c:v>
                </c:pt>
                <c:pt idx="263">
                  <c:v>68.429087858256707</c:v>
                </c:pt>
                <c:pt idx="264">
                  <c:v>52.554179710357459</c:v>
                </c:pt>
                <c:pt idx="265">
                  <c:v>20.844009199165754</c:v>
                </c:pt>
                <c:pt idx="266">
                  <c:v>5.1416267261232349</c:v>
                </c:pt>
                <c:pt idx="267">
                  <c:v>-1.8693928430570992</c:v>
                </c:pt>
                <c:pt idx="268">
                  <c:v>-4.9690097374425903</c:v>
                </c:pt>
                <c:pt idx="269">
                  <c:v>-6.7020976145828826</c:v>
                </c:pt>
                <c:pt idx="270">
                  <c:v>-5.4097498310894423</c:v>
                </c:pt>
                <c:pt idx="271">
                  <c:v>-2.7378992656362442</c:v>
                </c:pt>
                <c:pt idx="272">
                  <c:v>0.18517955797179297</c:v>
                </c:pt>
                <c:pt idx="273">
                  <c:v>0.79027305562607353</c:v>
                </c:pt>
                <c:pt idx="274">
                  <c:v>1.6126450607725644</c:v>
                </c:pt>
                <c:pt idx="275">
                  <c:v>7.0283010692321568E-2</c:v>
                </c:pt>
                <c:pt idx="276">
                  <c:v>-1.9100480139454135</c:v>
                </c:pt>
                <c:pt idx="277">
                  <c:v>0.99736214926051048</c:v>
                </c:pt>
                <c:pt idx="278">
                  <c:v>4.1143638561829619</c:v>
                </c:pt>
                <c:pt idx="279">
                  <c:v>8.1785634080684417</c:v>
                </c:pt>
                <c:pt idx="280">
                  <c:v>10.275090446916451</c:v>
                </c:pt>
                <c:pt idx="281">
                  <c:v>9.95974263896737</c:v>
                </c:pt>
                <c:pt idx="282">
                  <c:v>8.9914910597896665</c:v>
                </c:pt>
                <c:pt idx="283">
                  <c:v>9.158508008104576</c:v>
                </c:pt>
                <c:pt idx="284">
                  <c:v>9.96755494382964</c:v>
                </c:pt>
                <c:pt idx="285">
                  <c:v>11.388763124860361</c:v>
                </c:pt>
                <c:pt idx="286">
                  <c:v>12.411333238800907</c:v>
                </c:pt>
                <c:pt idx="287">
                  <c:v>12.120737042447047</c:v>
                </c:pt>
                <c:pt idx="288">
                  <c:v>12.577896933930148</c:v>
                </c:pt>
                <c:pt idx="289">
                  <c:v>9.6167687600248257</c:v>
                </c:pt>
                <c:pt idx="290">
                  <c:v>5.683605797874236</c:v>
                </c:pt>
                <c:pt idx="291">
                  <c:v>5.102344661817142</c:v>
                </c:pt>
                <c:pt idx="292">
                  <c:v>6.335500141493597</c:v>
                </c:pt>
                <c:pt idx="293">
                  <c:v>9.9083251800330601</c:v>
                </c:pt>
                <c:pt idx="294">
                  <c:v>14.164801221415118</c:v>
                </c:pt>
                <c:pt idx="295">
                  <c:v>10.71427179649443</c:v>
                </c:pt>
                <c:pt idx="296">
                  <c:v>7.2861948694662289</c:v>
                </c:pt>
                <c:pt idx="297">
                  <c:v>3.0468860868777341</c:v>
                </c:pt>
                <c:pt idx="298">
                  <c:v>-0.2432513000933767</c:v>
                </c:pt>
                <c:pt idx="299">
                  <c:v>1.5206347219612724</c:v>
                </c:pt>
                <c:pt idx="300">
                  <c:v>0.13211800379777117</c:v>
                </c:pt>
                <c:pt idx="301">
                  <c:v>-2.3863292384729391</c:v>
                </c:pt>
                <c:pt idx="302">
                  <c:v>-3.7107013865695535</c:v>
                </c:pt>
                <c:pt idx="303">
                  <c:v>-4.3968366674669142</c:v>
                </c:pt>
                <c:pt idx="304">
                  <c:v>-4.0986718344915687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2-A15F-4465-BB40-C6A6CC259C8C}"/>
            </c:ext>
          </c:extLst>
        </c:ser>
        <c:ser>
          <c:idx val="6"/>
          <c:order val="5"/>
          <c:tx>
            <c:strRef>
              <c:f>'指数合成-1.0'!$DJ$8</c:f>
              <c:strCache>
                <c:ptCount val="1"/>
                <c:pt idx="0">
                  <c:v>出口</c:v>
                </c:pt>
              </c:strCache>
            </c:strRef>
          </c:tx>
          <c:spPr>
            <a:ln w="28575" cap="rnd">
              <a:solidFill>
                <a:sysClr val="window" lastClr="FFFFFF">
                  <a:lumMod val="75000"/>
                </a:sysClr>
              </a:solidFill>
              <a:round/>
            </a:ln>
            <a:effectLst/>
          </c:spPr>
          <c:marker>
            <c:symbol val="none"/>
          </c:marker>
          <c:cat>
            <c:numRef>
              <c:f>'指数合成-1.0'!$DC$67:$DC$371</c:f>
              <c:numCache>
                <c:formatCode>yyyy\-mm\-dd</c:formatCode>
                <c:ptCount val="305"/>
                <c:pt idx="0">
                  <c:v>43875</c:v>
                </c:pt>
                <c:pt idx="1">
                  <c:v>43882</c:v>
                </c:pt>
                <c:pt idx="2">
                  <c:v>43889</c:v>
                </c:pt>
                <c:pt idx="3">
                  <c:v>43896</c:v>
                </c:pt>
                <c:pt idx="4">
                  <c:v>43903</c:v>
                </c:pt>
                <c:pt idx="5">
                  <c:v>43910</c:v>
                </c:pt>
                <c:pt idx="6">
                  <c:v>43917</c:v>
                </c:pt>
                <c:pt idx="7">
                  <c:v>43924</c:v>
                </c:pt>
                <c:pt idx="8">
                  <c:v>43931</c:v>
                </c:pt>
                <c:pt idx="9">
                  <c:v>43938</c:v>
                </c:pt>
                <c:pt idx="10">
                  <c:v>43945</c:v>
                </c:pt>
                <c:pt idx="11">
                  <c:v>43952</c:v>
                </c:pt>
                <c:pt idx="12">
                  <c:v>43959</c:v>
                </c:pt>
                <c:pt idx="13">
                  <c:v>43966</c:v>
                </c:pt>
                <c:pt idx="14">
                  <c:v>43973</c:v>
                </c:pt>
                <c:pt idx="15">
                  <c:v>43980</c:v>
                </c:pt>
                <c:pt idx="16">
                  <c:v>43987</c:v>
                </c:pt>
                <c:pt idx="17">
                  <c:v>43994</c:v>
                </c:pt>
                <c:pt idx="18">
                  <c:v>44001</c:v>
                </c:pt>
                <c:pt idx="19">
                  <c:v>44008</c:v>
                </c:pt>
                <c:pt idx="20">
                  <c:v>44015</c:v>
                </c:pt>
                <c:pt idx="21">
                  <c:v>44022</c:v>
                </c:pt>
                <c:pt idx="22">
                  <c:v>44029</c:v>
                </c:pt>
                <c:pt idx="23">
                  <c:v>44036</c:v>
                </c:pt>
                <c:pt idx="24">
                  <c:v>44043</c:v>
                </c:pt>
                <c:pt idx="25">
                  <c:v>44050</c:v>
                </c:pt>
                <c:pt idx="26">
                  <c:v>44057</c:v>
                </c:pt>
                <c:pt idx="27">
                  <c:v>44064</c:v>
                </c:pt>
                <c:pt idx="28">
                  <c:v>44071</c:v>
                </c:pt>
                <c:pt idx="29">
                  <c:v>44078</c:v>
                </c:pt>
                <c:pt idx="30">
                  <c:v>44085</c:v>
                </c:pt>
                <c:pt idx="31">
                  <c:v>44092</c:v>
                </c:pt>
                <c:pt idx="32">
                  <c:v>44099</c:v>
                </c:pt>
                <c:pt idx="33">
                  <c:v>44106</c:v>
                </c:pt>
                <c:pt idx="34">
                  <c:v>44113</c:v>
                </c:pt>
                <c:pt idx="35">
                  <c:v>44120</c:v>
                </c:pt>
                <c:pt idx="36">
                  <c:v>44127</c:v>
                </c:pt>
                <c:pt idx="37">
                  <c:v>44134</c:v>
                </c:pt>
                <c:pt idx="38">
                  <c:v>44141</c:v>
                </c:pt>
                <c:pt idx="39">
                  <c:v>44148</c:v>
                </c:pt>
                <c:pt idx="40">
                  <c:v>44155</c:v>
                </c:pt>
                <c:pt idx="41">
                  <c:v>44162</c:v>
                </c:pt>
                <c:pt idx="42">
                  <c:v>44169</c:v>
                </c:pt>
                <c:pt idx="43">
                  <c:v>44176</c:v>
                </c:pt>
                <c:pt idx="44">
                  <c:v>44183</c:v>
                </c:pt>
                <c:pt idx="45">
                  <c:v>44190</c:v>
                </c:pt>
                <c:pt idx="46">
                  <c:v>44197</c:v>
                </c:pt>
                <c:pt idx="47">
                  <c:v>44204</c:v>
                </c:pt>
                <c:pt idx="48">
                  <c:v>44211</c:v>
                </c:pt>
                <c:pt idx="49">
                  <c:v>44218</c:v>
                </c:pt>
                <c:pt idx="50">
                  <c:v>44225</c:v>
                </c:pt>
                <c:pt idx="51">
                  <c:v>44232</c:v>
                </c:pt>
                <c:pt idx="52">
                  <c:v>44239</c:v>
                </c:pt>
                <c:pt idx="53">
                  <c:v>44246</c:v>
                </c:pt>
                <c:pt idx="54">
                  <c:v>44253</c:v>
                </c:pt>
                <c:pt idx="55">
                  <c:v>44260</c:v>
                </c:pt>
                <c:pt idx="56">
                  <c:v>44267</c:v>
                </c:pt>
                <c:pt idx="57">
                  <c:v>44274</c:v>
                </c:pt>
                <c:pt idx="58">
                  <c:v>44281</c:v>
                </c:pt>
                <c:pt idx="59">
                  <c:v>44288</c:v>
                </c:pt>
                <c:pt idx="60">
                  <c:v>44295</c:v>
                </c:pt>
                <c:pt idx="61">
                  <c:v>44302</c:v>
                </c:pt>
                <c:pt idx="62">
                  <c:v>44309</c:v>
                </c:pt>
                <c:pt idx="63">
                  <c:v>44316</c:v>
                </c:pt>
                <c:pt idx="64">
                  <c:v>44323</c:v>
                </c:pt>
                <c:pt idx="65">
                  <c:v>44330</c:v>
                </c:pt>
                <c:pt idx="66">
                  <c:v>44337</c:v>
                </c:pt>
                <c:pt idx="67">
                  <c:v>44344</c:v>
                </c:pt>
                <c:pt idx="68">
                  <c:v>44351</c:v>
                </c:pt>
                <c:pt idx="69">
                  <c:v>44358</c:v>
                </c:pt>
                <c:pt idx="70">
                  <c:v>44365</c:v>
                </c:pt>
                <c:pt idx="71">
                  <c:v>44372</c:v>
                </c:pt>
                <c:pt idx="72">
                  <c:v>44379</c:v>
                </c:pt>
                <c:pt idx="73">
                  <c:v>44386</c:v>
                </c:pt>
                <c:pt idx="74">
                  <c:v>44393</c:v>
                </c:pt>
                <c:pt idx="75">
                  <c:v>44400</c:v>
                </c:pt>
                <c:pt idx="76">
                  <c:v>44407</c:v>
                </c:pt>
                <c:pt idx="77">
                  <c:v>44414</c:v>
                </c:pt>
                <c:pt idx="78">
                  <c:v>44421</c:v>
                </c:pt>
                <c:pt idx="79">
                  <c:v>44428</c:v>
                </c:pt>
                <c:pt idx="80">
                  <c:v>44435</c:v>
                </c:pt>
                <c:pt idx="81">
                  <c:v>44442</c:v>
                </c:pt>
                <c:pt idx="82">
                  <c:v>44449</c:v>
                </c:pt>
                <c:pt idx="83">
                  <c:v>44456</c:v>
                </c:pt>
                <c:pt idx="84">
                  <c:v>44463</c:v>
                </c:pt>
                <c:pt idx="85">
                  <c:v>44470</c:v>
                </c:pt>
                <c:pt idx="86">
                  <c:v>44477</c:v>
                </c:pt>
                <c:pt idx="87">
                  <c:v>44484</c:v>
                </c:pt>
                <c:pt idx="88">
                  <c:v>44491</c:v>
                </c:pt>
                <c:pt idx="89">
                  <c:v>44498</c:v>
                </c:pt>
                <c:pt idx="90">
                  <c:v>44505</c:v>
                </c:pt>
                <c:pt idx="91">
                  <c:v>44512</c:v>
                </c:pt>
                <c:pt idx="92">
                  <c:v>44519</c:v>
                </c:pt>
                <c:pt idx="93">
                  <c:v>44526</c:v>
                </c:pt>
                <c:pt idx="94">
                  <c:v>44533</c:v>
                </c:pt>
                <c:pt idx="95">
                  <c:v>44540</c:v>
                </c:pt>
                <c:pt idx="96">
                  <c:v>44547</c:v>
                </c:pt>
                <c:pt idx="97">
                  <c:v>44554</c:v>
                </c:pt>
                <c:pt idx="98">
                  <c:v>44561</c:v>
                </c:pt>
                <c:pt idx="99">
                  <c:v>44568</c:v>
                </c:pt>
                <c:pt idx="100">
                  <c:v>44575</c:v>
                </c:pt>
                <c:pt idx="101">
                  <c:v>44582</c:v>
                </c:pt>
                <c:pt idx="102">
                  <c:v>44589</c:v>
                </c:pt>
                <c:pt idx="103">
                  <c:v>44596</c:v>
                </c:pt>
                <c:pt idx="104">
                  <c:v>44603</c:v>
                </c:pt>
                <c:pt idx="105">
                  <c:v>44610</c:v>
                </c:pt>
                <c:pt idx="106">
                  <c:v>44617</c:v>
                </c:pt>
                <c:pt idx="107">
                  <c:v>44624</c:v>
                </c:pt>
                <c:pt idx="108">
                  <c:v>44631</c:v>
                </c:pt>
                <c:pt idx="109">
                  <c:v>44638</c:v>
                </c:pt>
                <c:pt idx="110">
                  <c:v>44645</c:v>
                </c:pt>
                <c:pt idx="111">
                  <c:v>44652</c:v>
                </c:pt>
                <c:pt idx="112">
                  <c:v>44659</c:v>
                </c:pt>
                <c:pt idx="113">
                  <c:v>44666</c:v>
                </c:pt>
                <c:pt idx="114">
                  <c:v>44673</c:v>
                </c:pt>
                <c:pt idx="115">
                  <c:v>44680</c:v>
                </c:pt>
                <c:pt idx="116">
                  <c:v>44687</c:v>
                </c:pt>
                <c:pt idx="117">
                  <c:v>44694</c:v>
                </c:pt>
                <c:pt idx="118">
                  <c:v>44701</c:v>
                </c:pt>
                <c:pt idx="119">
                  <c:v>44708</c:v>
                </c:pt>
                <c:pt idx="120">
                  <c:v>44715</c:v>
                </c:pt>
                <c:pt idx="121">
                  <c:v>44722</c:v>
                </c:pt>
                <c:pt idx="122">
                  <c:v>44729</c:v>
                </c:pt>
                <c:pt idx="123">
                  <c:v>44736</c:v>
                </c:pt>
                <c:pt idx="124">
                  <c:v>44743</c:v>
                </c:pt>
                <c:pt idx="125">
                  <c:v>44750</c:v>
                </c:pt>
                <c:pt idx="126">
                  <c:v>44757</c:v>
                </c:pt>
                <c:pt idx="127">
                  <c:v>44764</c:v>
                </c:pt>
                <c:pt idx="128">
                  <c:v>44771</c:v>
                </c:pt>
                <c:pt idx="129">
                  <c:v>44778</c:v>
                </c:pt>
                <c:pt idx="130">
                  <c:v>44785</c:v>
                </c:pt>
                <c:pt idx="131">
                  <c:v>44792</c:v>
                </c:pt>
                <c:pt idx="132">
                  <c:v>44799</c:v>
                </c:pt>
                <c:pt idx="133">
                  <c:v>44806</c:v>
                </c:pt>
                <c:pt idx="134">
                  <c:v>44813</c:v>
                </c:pt>
                <c:pt idx="135">
                  <c:v>44820</c:v>
                </c:pt>
                <c:pt idx="136">
                  <c:v>44827</c:v>
                </c:pt>
                <c:pt idx="137">
                  <c:v>44834</c:v>
                </c:pt>
                <c:pt idx="138">
                  <c:v>44841</c:v>
                </c:pt>
                <c:pt idx="139">
                  <c:v>44848</c:v>
                </c:pt>
                <c:pt idx="140">
                  <c:v>44855</c:v>
                </c:pt>
                <c:pt idx="141">
                  <c:v>44862</c:v>
                </c:pt>
                <c:pt idx="142">
                  <c:v>44869</c:v>
                </c:pt>
                <c:pt idx="143">
                  <c:v>44876</c:v>
                </c:pt>
                <c:pt idx="144">
                  <c:v>44883</c:v>
                </c:pt>
                <c:pt idx="145">
                  <c:v>44890</c:v>
                </c:pt>
                <c:pt idx="146">
                  <c:v>44897</c:v>
                </c:pt>
                <c:pt idx="147">
                  <c:v>44904</c:v>
                </c:pt>
                <c:pt idx="148">
                  <c:v>44911</c:v>
                </c:pt>
                <c:pt idx="149">
                  <c:v>44918</c:v>
                </c:pt>
                <c:pt idx="150">
                  <c:v>44925</c:v>
                </c:pt>
                <c:pt idx="151">
                  <c:v>44932</c:v>
                </c:pt>
                <c:pt idx="152">
                  <c:v>44939</c:v>
                </c:pt>
                <c:pt idx="153">
                  <c:v>44946</c:v>
                </c:pt>
                <c:pt idx="154">
                  <c:v>44953</c:v>
                </c:pt>
                <c:pt idx="155">
                  <c:v>44960</c:v>
                </c:pt>
                <c:pt idx="156">
                  <c:v>44967</c:v>
                </c:pt>
                <c:pt idx="157">
                  <c:v>44974</c:v>
                </c:pt>
                <c:pt idx="158">
                  <c:v>44981</c:v>
                </c:pt>
                <c:pt idx="159">
                  <c:v>44988</c:v>
                </c:pt>
                <c:pt idx="160">
                  <c:v>44995</c:v>
                </c:pt>
                <c:pt idx="161">
                  <c:v>45002</c:v>
                </c:pt>
                <c:pt idx="162">
                  <c:v>45009</c:v>
                </c:pt>
                <c:pt idx="163">
                  <c:v>45016</c:v>
                </c:pt>
                <c:pt idx="164">
                  <c:v>45023</c:v>
                </c:pt>
                <c:pt idx="165">
                  <c:v>45030</c:v>
                </c:pt>
                <c:pt idx="166">
                  <c:v>45037</c:v>
                </c:pt>
                <c:pt idx="167">
                  <c:v>45044</c:v>
                </c:pt>
                <c:pt idx="168">
                  <c:v>45051</c:v>
                </c:pt>
                <c:pt idx="169">
                  <c:v>45058</c:v>
                </c:pt>
                <c:pt idx="170">
                  <c:v>45065</c:v>
                </c:pt>
                <c:pt idx="171">
                  <c:v>45072</c:v>
                </c:pt>
                <c:pt idx="172">
                  <c:v>45079</c:v>
                </c:pt>
                <c:pt idx="173">
                  <c:v>45086</c:v>
                </c:pt>
                <c:pt idx="174">
                  <c:v>45093</c:v>
                </c:pt>
                <c:pt idx="175">
                  <c:v>45100</c:v>
                </c:pt>
                <c:pt idx="176">
                  <c:v>45107</c:v>
                </c:pt>
                <c:pt idx="177">
                  <c:v>45114</c:v>
                </c:pt>
                <c:pt idx="178">
                  <c:v>45121</c:v>
                </c:pt>
                <c:pt idx="179">
                  <c:v>45128</c:v>
                </c:pt>
                <c:pt idx="180">
                  <c:v>45135</c:v>
                </c:pt>
                <c:pt idx="181">
                  <c:v>45142</c:v>
                </c:pt>
                <c:pt idx="182">
                  <c:v>45149</c:v>
                </c:pt>
                <c:pt idx="183">
                  <c:v>45156</c:v>
                </c:pt>
                <c:pt idx="184">
                  <c:v>45163</c:v>
                </c:pt>
                <c:pt idx="185">
                  <c:v>45170</c:v>
                </c:pt>
                <c:pt idx="186">
                  <c:v>45177</c:v>
                </c:pt>
                <c:pt idx="187">
                  <c:v>45184</c:v>
                </c:pt>
                <c:pt idx="188">
                  <c:v>45191</c:v>
                </c:pt>
                <c:pt idx="189">
                  <c:v>45198</c:v>
                </c:pt>
                <c:pt idx="190">
                  <c:v>45205</c:v>
                </c:pt>
                <c:pt idx="191">
                  <c:v>45212</c:v>
                </c:pt>
                <c:pt idx="192">
                  <c:v>45219</c:v>
                </c:pt>
                <c:pt idx="193">
                  <c:v>45226</c:v>
                </c:pt>
                <c:pt idx="194">
                  <c:v>45233</c:v>
                </c:pt>
                <c:pt idx="195">
                  <c:v>45240</c:v>
                </c:pt>
                <c:pt idx="196">
                  <c:v>45247</c:v>
                </c:pt>
                <c:pt idx="197">
                  <c:v>45254</c:v>
                </c:pt>
                <c:pt idx="198">
                  <c:v>45261</c:v>
                </c:pt>
                <c:pt idx="199">
                  <c:v>45268</c:v>
                </c:pt>
                <c:pt idx="200">
                  <c:v>45275</c:v>
                </c:pt>
                <c:pt idx="201">
                  <c:v>45282</c:v>
                </c:pt>
                <c:pt idx="202">
                  <c:v>45289</c:v>
                </c:pt>
                <c:pt idx="203">
                  <c:v>45296</c:v>
                </c:pt>
                <c:pt idx="204">
                  <c:v>45303</c:v>
                </c:pt>
                <c:pt idx="205">
                  <c:v>45310</c:v>
                </c:pt>
                <c:pt idx="206">
                  <c:v>45317</c:v>
                </c:pt>
                <c:pt idx="207">
                  <c:v>45324</c:v>
                </c:pt>
                <c:pt idx="208">
                  <c:v>45331</c:v>
                </c:pt>
                <c:pt idx="209">
                  <c:v>45338</c:v>
                </c:pt>
                <c:pt idx="210">
                  <c:v>45345</c:v>
                </c:pt>
                <c:pt idx="211">
                  <c:v>45352</c:v>
                </c:pt>
                <c:pt idx="212">
                  <c:v>45359</c:v>
                </c:pt>
                <c:pt idx="213">
                  <c:v>45366</c:v>
                </c:pt>
                <c:pt idx="214">
                  <c:v>45373</c:v>
                </c:pt>
                <c:pt idx="215">
                  <c:v>45380</c:v>
                </c:pt>
                <c:pt idx="216">
                  <c:v>45387</c:v>
                </c:pt>
                <c:pt idx="217">
                  <c:v>45394</c:v>
                </c:pt>
                <c:pt idx="218">
                  <c:v>45401</c:v>
                </c:pt>
                <c:pt idx="219">
                  <c:v>45408</c:v>
                </c:pt>
                <c:pt idx="220">
                  <c:v>45415</c:v>
                </c:pt>
                <c:pt idx="221">
                  <c:v>45422</c:v>
                </c:pt>
                <c:pt idx="222">
                  <c:v>45429</c:v>
                </c:pt>
                <c:pt idx="223">
                  <c:v>45436</c:v>
                </c:pt>
                <c:pt idx="224">
                  <c:v>45443</c:v>
                </c:pt>
                <c:pt idx="225">
                  <c:v>45450</c:v>
                </c:pt>
                <c:pt idx="226">
                  <c:v>45457</c:v>
                </c:pt>
                <c:pt idx="227">
                  <c:v>45464</c:v>
                </c:pt>
                <c:pt idx="228">
                  <c:v>45471</c:v>
                </c:pt>
                <c:pt idx="229">
                  <c:v>45478</c:v>
                </c:pt>
                <c:pt idx="230">
                  <c:v>45485</c:v>
                </c:pt>
                <c:pt idx="231">
                  <c:v>45492</c:v>
                </c:pt>
                <c:pt idx="232">
                  <c:v>45499</c:v>
                </c:pt>
                <c:pt idx="233">
                  <c:v>45506</c:v>
                </c:pt>
                <c:pt idx="234">
                  <c:v>45513</c:v>
                </c:pt>
                <c:pt idx="235">
                  <c:v>45520</c:v>
                </c:pt>
                <c:pt idx="236">
                  <c:v>45527</c:v>
                </c:pt>
                <c:pt idx="237">
                  <c:v>45534</c:v>
                </c:pt>
                <c:pt idx="238">
                  <c:v>45541</c:v>
                </c:pt>
                <c:pt idx="239">
                  <c:v>45548</c:v>
                </c:pt>
                <c:pt idx="240">
                  <c:v>45555</c:v>
                </c:pt>
                <c:pt idx="241">
                  <c:v>45562</c:v>
                </c:pt>
                <c:pt idx="242">
                  <c:v>45569</c:v>
                </c:pt>
                <c:pt idx="243">
                  <c:v>45576</c:v>
                </c:pt>
                <c:pt idx="244">
                  <c:v>45583</c:v>
                </c:pt>
                <c:pt idx="245">
                  <c:v>45590</c:v>
                </c:pt>
                <c:pt idx="246">
                  <c:v>45597</c:v>
                </c:pt>
                <c:pt idx="247">
                  <c:v>45604</c:v>
                </c:pt>
                <c:pt idx="248">
                  <c:v>45611</c:v>
                </c:pt>
                <c:pt idx="249">
                  <c:v>45618</c:v>
                </c:pt>
                <c:pt idx="250">
                  <c:v>45625</c:v>
                </c:pt>
                <c:pt idx="251">
                  <c:v>45632</c:v>
                </c:pt>
                <c:pt idx="252">
                  <c:v>45639</c:v>
                </c:pt>
                <c:pt idx="253">
                  <c:v>45646</c:v>
                </c:pt>
                <c:pt idx="254">
                  <c:v>45653</c:v>
                </c:pt>
                <c:pt idx="255">
                  <c:v>45660</c:v>
                </c:pt>
                <c:pt idx="256">
                  <c:v>45667</c:v>
                </c:pt>
                <c:pt idx="257">
                  <c:v>45674</c:v>
                </c:pt>
                <c:pt idx="258">
                  <c:v>45681</c:v>
                </c:pt>
                <c:pt idx="259">
                  <c:v>45688</c:v>
                </c:pt>
                <c:pt idx="260">
                  <c:v>45695</c:v>
                </c:pt>
                <c:pt idx="261">
                  <c:v>45702</c:v>
                </c:pt>
                <c:pt idx="262">
                  <c:v>45709</c:v>
                </c:pt>
                <c:pt idx="263">
                  <c:v>45716</c:v>
                </c:pt>
                <c:pt idx="264">
                  <c:v>45723</c:v>
                </c:pt>
                <c:pt idx="265">
                  <c:v>45730</c:v>
                </c:pt>
                <c:pt idx="266">
                  <c:v>45737</c:v>
                </c:pt>
                <c:pt idx="267">
                  <c:v>45744</c:v>
                </c:pt>
                <c:pt idx="268">
                  <c:v>45751</c:v>
                </c:pt>
                <c:pt idx="269">
                  <c:v>45758</c:v>
                </c:pt>
                <c:pt idx="270">
                  <c:v>45765</c:v>
                </c:pt>
                <c:pt idx="271">
                  <c:v>45772</c:v>
                </c:pt>
                <c:pt idx="272">
                  <c:v>45779</c:v>
                </c:pt>
                <c:pt idx="273">
                  <c:v>45786</c:v>
                </c:pt>
                <c:pt idx="274">
                  <c:v>45793</c:v>
                </c:pt>
                <c:pt idx="275">
                  <c:v>45800</c:v>
                </c:pt>
                <c:pt idx="276">
                  <c:v>45807</c:v>
                </c:pt>
                <c:pt idx="277">
                  <c:v>45814</c:v>
                </c:pt>
                <c:pt idx="278">
                  <c:v>45821</c:v>
                </c:pt>
                <c:pt idx="279">
                  <c:v>45828</c:v>
                </c:pt>
                <c:pt idx="280">
                  <c:v>45835</c:v>
                </c:pt>
                <c:pt idx="281">
                  <c:v>45842</c:v>
                </c:pt>
                <c:pt idx="282">
                  <c:v>45849</c:v>
                </c:pt>
                <c:pt idx="283">
                  <c:v>45856</c:v>
                </c:pt>
                <c:pt idx="284">
                  <c:v>45863</c:v>
                </c:pt>
                <c:pt idx="285">
                  <c:v>45870</c:v>
                </c:pt>
                <c:pt idx="286">
                  <c:v>45877</c:v>
                </c:pt>
                <c:pt idx="287">
                  <c:v>45884</c:v>
                </c:pt>
                <c:pt idx="288">
                  <c:v>45891</c:v>
                </c:pt>
                <c:pt idx="289">
                  <c:v>45898</c:v>
                </c:pt>
                <c:pt idx="290">
                  <c:v>45905</c:v>
                </c:pt>
                <c:pt idx="291">
                  <c:v>45912</c:v>
                </c:pt>
                <c:pt idx="292">
                  <c:v>45919</c:v>
                </c:pt>
                <c:pt idx="293">
                  <c:v>45926</c:v>
                </c:pt>
                <c:pt idx="294">
                  <c:v>45933</c:v>
                </c:pt>
                <c:pt idx="295">
                  <c:v>45940</c:v>
                </c:pt>
                <c:pt idx="296">
                  <c:v>45947</c:v>
                </c:pt>
                <c:pt idx="297">
                  <c:v>45954</c:v>
                </c:pt>
                <c:pt idx="298">
                  <c:v>45961</c:v>
                </c:pt>
                <c:pt idx="299">
                  <c:v>45968</c:v>
                </c:pt>
                <c:pt idx="300">
                  <c:v>45975</c:v>
                </c:pt>
                <c:pt idx="301">
                  <c:v>45982</c:v>
                </c:pt>
                <c:pt idx="302">
                  <c:v>45989</c:v>
                </c:pt>
                <c:pt idx="303">
                  <c:v>45996</c:v>
                </c:pt>
                <c:pt idx="304">
                  <c:v>46003</c:v>
                </c:pt>
              </c:numCache>
            </c:numRef>
          </c:cat>
          <c:val>
            <c:numRef>
              <c:f>'指数合成-1.0'!$DJ$67:$DJ$371</c:f>
              <c:numCache>
                <c:formatCode>0.0</c:formatCode>
                <c:ptCount val="305"/>
                <c:pt idx="0">
                  <c:v>-19.072181065810355</c:v>
                </c:pt>
                <c:pt idx="1">
                  <c:v>-21.793199012026662</c:v>
                </c:pt>
                <c:pt idx="2">
                  <c:v>-10.792092101953273</c:v>
                </c:pt>
                <c:pt idx="3">
                  <c:v>-0.81349179922430892</c:v>
                </c:pt>
                <c:pt idx="4">
                  <c:v>1.5062121070323684</c:v>
                </c:pt>
                <c:pt idx="5">
                  <c:v>5.0342820812037843</c:v>
                </c:pt>
                <c:pt idx="6">
                  <c:v>9.7080772098731956</c:v>
                </c:pt>
                <c:pt idx="7">
                  <c:v>12.634778368770341</c:v>
                </c:pt>
                <c:pt idx="8">
                  <c:v>14.711957476327967</c:v>
                </c:pt>
                <c:pt idx="9">
                  <c:v>6.380674216052924</c:v>
                </c:pt>
                <c:pt idx="10">
                  <c:v>8.2736914209314563</c:v>
                </c:pt>
                <c:pt idx="11">
                  <c:v>-2.2221911838800139</c:v>
                </c:pt>
                <c:pt idx="12">
                  <c:v>-12.638346011322554</c:v>
                </c:pt>
                <c:pt idx="13">
                  <c:v>-11.115367722376931</c:v>
                </c:pt>
                <c:pt idx="14">
                  <c:v>-13.715194288923755</c:v>
                </c:pt>
                <c:pt idx="15">
                  <c:v>-1.2317753033837135</c:v>
                </c:pt>
                <c:pt idx="16">
                  <c:v>13.95898812019125</c:v>
                </c:pt>
                <c:pt idx="17">
                  <c:v>18.144760703188041</c:v>
                </c:pt>
                <c:pt idx="18">
                  <c:v>25.033444169814317</c:v>
                </c:pt>
                <c:pt idx="19">
                  <c:v>23.244726758683854</c:v>
                </c:pt>
                <c:pt idx="20">
                  <c:v>23.953232973772273</c:v>
                </c:pt>
                <c:pt idx="21">
                  <c:v>20.863836606281509</c:v>
                </c:pt>
                <c:pt idx="22">
                  <c:v>14.545798669724277</c:v>
                </c:pt>
                <c:pt idx="23">
                  <c:v>9.5390044518248942</c:v>
                </c:pt>
                <c:pt idx="24">
                  <c:v>5.154420224935734</c:v>
                </c:pt>
                <c:pt idx="25">
                  <c:v>3.6682444190546732</c:v>
                </c:pt>
                <c:pt idx="26">
                  <c:v>11.146380007214731</c:v>
                </c:pt>
                <c:pt idx="27">
                  <c:v>10.463913385126929</c:v>
                </c:pt>
                <c:pt idx="28">
                  <c:v>8.2783479067812777</c:v>
                </c:pt>
                <c:pt idx="29">
                  <c:v>7.5631555837484257</c:v>
                </c:pt>
                <c:pt idx="30">
                  <c:v>-2.9729586763697</c:v>
                </c:pt>
                <c:pt idx="31">
                  <c:v>-3.8508302136202417</c:v>
                </c:pt>
                <c:pt idx="32">
                  <c:v>2.6237113300317674</c:v>
                </c:pt>
                <c:pt idx="33">
                  <c:v>14.302935819176255</c:v>
                </c:pt>
                <c:pt idx="34">
                  <c:v>23.939789423719077</c:v>
                </c:pt>
                <c:pt idx="35">
                  <c:v>30.628563383762042</c:v>
                </c:pt>
                <c:pt idx="36">
                  <c:v>20.963478778574341</c:v>
                </c:pt>
                <c:pt idx="37">
                  <c:v>6.6720769527654795</c:v>
                </c:pt>
                <c:pt idx="38">
                  <c:v>-1.0809752739880878</c:v>
                </c:pt>
                <c:pt idx="39">
                  <c:v>-0.89954256325884785</c:v>
                </c:pt>
                <c:pt idx="40">
                  <c:v>1.292876701628515</c:v>
                </c:pt>
                <c:pt idx="41">
                  <c:v>4.9691025405861353</c:v>
                </c:pt>
                <c:pt idx="42">
                  <c:v>6.6702958483397623</c:v>
                </c:pt>
                <c:pt idx="43">
                  <c:v>3.91293526934993</c:v>
                </c:pt>
                <c:pt idx="44">
                  <c:v>1.5585999491899258</c:v>
                </c:pt>
                <c:pt idx="45">
                  <c:v>0.42211028759373903</c:v>
                </c:pt>
                <c:pt idx="46">
                  <c:v>0.59321744089740491</c:v>
                </c:pt>
                <c:pt idx="47">
                  <c:v>4.2870450025007898</c:v>
                </c:pt>
                <c:pt idx="48">
                  <c:v>12.896041303254592</c:v>
                </c:pt>
                <c:pt idx="49">
                  <c:v>19.196443893038875</c:v>
                </c:pt>
                <c:pt idx="50">
                  <c:v>42.535208097540334</c:v>
                </c:pt>
                <c:pt idx="51">
                  <c:v>81.730888323854998</c:v>
                </c:pt>
                <c:pt idx="52">
                  <c:v>156.84171055684794</c:v>
                </c:pt>
                <c:pt idx="53">
                  <c:v>220.21690432531653</c:v>
                </c:pt>
                <c:pt idx="54">
                  <c:v>159.93251329931024</c:v>
                </c:pt>
                <c:pt idx="55">
                  <c:v>94.073289685805321</c:v>
                </c:pt>
                <c:pt idx="56">
                  <c:v>48.609322003468662</c:v>
                </c:pt>
                <c:pt idx="57">
                  <c:v>36.154040769151464</c:v>
                </c:pt>
                <c:pt idx="58">
                  <c:v>34.401796427587101</c:v>
                </c:pt>
                <c:pt idx="59">
                  <c:v>25.320084396874634</c:v>
                </c:pt>
                <c:pt idx="60">
                  <c:v>27.090859217360517</c:v>
                </c:pt>
                <c:pt idx="61">
                  <c:v>28.674337002682933</c:v>
                </c:pt>
                <c:pt idx="62">
                  <c:v>34.374940721085665</c:v>
                </c:pt>
                <c:pt idx="63">
                  <c:v>51.985483295663784</c:v>
                </c:pt>
                <c:pt idx="64">
                  <c:v>65.981941781102648</c:v>
                </c:pt>
                <c:pt idx="65">
                  <c:v>77.595775847558372</c:v>
                </c:pt>
                <c:pt idx="66">
                  <c:v>85.289814089061622</c:v>
                </c:pt>
                <c:pt idx="67">
                  <c:v>77.674223517148306</c:v>
                </c:pt>
                <c:pt idx="68">
                  <c:v>57.999105757595288</c:v>
                </c:pt>
                <c:pt idx="69">
                  <c:v>44.764010042132753</c:v>
                </c:pt>
                <c:pt idx="70">
                  <c:v>34.619798894323992</c:v>
                </c:pt>
                <c:pt idx="71">
                  <c:v>31.495325478582117</c:v>
                </c:pt>
                <c:pt idx="72">
                  <c:v>28.07540077176975</c:v>
                </c:pt>
                <c:pt idx="73">
                  <c:v>26.209954689261906</c:v>
                </c:pt>
                <c:pt idx="74">
                  <c:v>25.21245424547871</c:v>
                </c:pt>
                <c:pt idx="75">
                  <c:v>25.989336241755993</c:v>
                </c:pt>
                <c:pt idx="76">
                  <c:v>16.711309693228316</c:v>
                </c:pt>
                <c:pt idx="77">
                  <c:v>20.965196928136947</c:v>
                </c:pt>
                <c:pt idx="78">
                  <c:v>23.037947515536516</c:v>
                </c:pt>
                <c:pt idx="79">
                  <c:v>22.116220997876894</c:v>
                </c:pt>
                <c:pt idx="80">
                  <c:v>37.702744769227962</c:v>
                </c:pt>
                <c:pt idx="81">
                  <c:v>34.502443463110382</c:v>
                </c:pt>
                <c:pt idx="82">
                  <c:v>37.138203255936844</c:v>
                </c:pt>
                <c:pt idx="83">
                  <c:v>32.098651070800287</c:v>
                </c:pt>
                <c:pt idx="84">
                  <c:v>30.877517377138815</c:v>
                </c:pt>
                <c:pt idx="85">
                  <c:v>30.451716957446109</c:v>
                </c:pt>
                <c:pt idx="86">
                  <c:v>33.212408749649086</c:v>
                </c:pt>
                <c:pt idx="87">
                  <c:v>50.379538844581987</c:v>
                </c:pt>
                <c:pt idx="88">
                  <c:v>54.362338627704105</c:v>
                </c:pt>
                <c:pt idx="89">
                  <c:v>58.319610663416142</c:v>
                </c:pt>
                <c:pt idx="90">
                  <c:v>56.118014725542508</c:v>
                </c:pt>
                <c:pt idx="91">
                  <c:v>40.517273521422482</c:v>
                </c:pt>
                <c:pt idx="92">
                  <c:v>36.867231091577196</c:v>
                </c:pt>
                <c:pt idx="93">
                  <c:v>31.621516518783011</c:v>
                </c:pt>
                <c:pt idx="94">
                  <c:v>30.359045402236831</c:v>
                </c:pt>
                <c:pt idx="95">
                  <c:v>34.149337168193739</c:v>
                </c:pt>
                <c:pt idx="96">
                  <c:v>31.92215109499341</c:v>
                </c:pt>
                <c:pt idx="97">
                  <c:v>29.176730330578209</c:v>
                </c:pt>
                <c:pt idx="98">
                  <c:v>27.069150600449035</c:v>
                </c:pt>
                <c:pt idx="99">
                  <c:v>24.081209792525058</c:v>
                </c:pt>
                <c:pt idx="100">
                  <c:v>19.252471372651087</c:v>
                </c:pt>
                <c:pt idx="101">
                  <c:v>14.463859714698884</c:v>
                </c:pt>
                <c:pt idx="102">
                  <c:v>9.8568800692446104</c:v>
                </c:pt>
                <c:pt idx="103">
                  <c:v>1.4669751711331713</c:v>
                </c:pt>
                <c:pt idx="104">
                  <c:v>-1.4707159864405526</c:v>
                </c:pt>
                <c:pt idx="105">
                  <c:v>-0.13171618829713339</c:v>
                </c:pt>
                <c:pt idx="106">
                  <c:v>6.0297030670745784</c:v>
                </c:pt>
                <c:pt idx="107">
                  <c:v>19.018720633393158</c:v>
                </c:pt>
                <c:pt idx="108">
                  <c:v>24.616069419629198</c:v>
                </c:pt>
                <c:pt idx="109">
                  <c:v>22.88087537347198</c:v>
                </c:pt>
                <c:pt idx="110">
                  <c:v>20.746968077079117</c:v>
                </c:pt>
                <c:pt idx="111">
                  <c:v>23.486725504291314</c:v>
                </c:pt>
                <c:pt idx="112">
                  <c:v>17.992398860187777</c:v>
                </c:pt>
                <c:pt idx="113">
                  <c:v>14.89124482602719</c:v>
                </c:pt>
                <c:pt idx="114">
                  <c:v>8.8475160903218892</c:v>
                </c:pt>
                <c:pt idx="115">
                  <c:v>-4.0640045206030777</c:v>
                </c:pt>
                <c:pt idx="116">
                  <c:v>-7.9979110097615944</c:v>
                </c:pt>
                <c:pt idx="117">
                  <c:v>-8.279546390622798</c:v>
                </c:pt>
                <c:pt idx="118">
                  <c:v>-12.759241120278986</c:v>
                </c:pt>
                <c:pt idx="119">
                  <c:v>-14.006118406807431</c:v>
                </c:pt>
                <c:pt idx="120">
                  <c:v>-8.9022617592326725</c:v>
                </c:pt>
                <c:pt idx="121">
                  <c:v>-5.122346927175542</c:v>
                </c:pt>
                <c:pt idx="122">
                  <c:v>-0.79912964368580219</c:v>
                </c:pt>
                <c:pt idx="123">
                  <c:v>0.92313917025377634</c:v>
                </c:pt>
                <c:pt idx="124">
                  <c:v>-3.9332899930293621</c:v>
                </c:pt>
                <c:pt idx="125">
                  <c:v>-7.2454723271820995</c:v>
                </c:pt>
                <c:pt idx="126">
                  <c:v>-9.3576021222479255</c:v>
                </c:pt>
                <c:pt idx="127">
                  <c:v>-7.4503166760131023</c:v>
                </c:pt>
                <c:pt idx="128">
                  <c:v>3.017917915393852</c:v>
                </c:pt>
                <c:pt idx="129">
                  <c:v>-0.18826237015900915</c:v>
                </c:pt>
                <c:pt idx="130">
                  <c:v>-5.3901359528825452</c:v>
                </c:pt>
                <c:pt idx="131">
                  <c:v>-11.698009130409886</c:v>
                </c:pt>
                <c:pt idx="132">
                  <c:v>-25.215407592883622</c:v>
                </c:pt>
                <c:pt idx="133">
                  <c:v>-26.667285460183933</c:v>
                </c:pt>
                <c:pt idx="134">
                  <c:v>-33.032684147927355</c:v>
                </c:pt>
                <c:pt idx="135">
                  <c:v>-32.945255546039292</c:v>
                </c:pt>
                <c:pt idx="136">
                  <c:v>-29.561049030440103</c:v>
                </c:pt>
                <c:pt idx="137">
                  <c:v>-29.279347721854691</c:v>
                </c:pt>
                <c:pt idx="138">
                  <c:v>-26.871204323222969</c:v>
                </c:pt>
                <c:pt idx="139">
                  <c:v>-34.760162169221687</c:v>
                </c:pt>
                <c:pt idx="140">
                  <c:v>-40.893243615214473</c:v>
                </c:pt>
                <c:pt idx="141">
                  <c:v>-40.449443027970275</c:v>
                </c:pt>
                <c:pt idx="142">
                  <c:v>-37.492878279014462</c:v>
                </c:pt>
                <c:pt idx="143">
                  <c:v>-25.544173552575984</c:v>
                </c:pt>
                <c:pt idx="144">
                  <c:v>-18.261419962059819</c:v>
                </c:pt>
                <c:pt idx="145">
                  <c:v>-16.484971372680619</c:v>
                </c:pt>
                <c:pt idx="146">
                  <c:v>-18.137200834726642</c:v>
                </c:pt>
                <c:pt idx="147">
                  <c:v>-23.39540872671752</c:v>
                </c:pt>
                <c:pt idx="148">
                  <c:v>-22.00979837334701</c:v>
                </c:pt>
                <c:pt idx="149">
                  <c:v>-22.100547771859425</c:v>
                </c:pt>
                <c:pt idx="150">
                  <c:v>-17.465337426730599</c:v>
                </c:pt>
                <c:pt idx="151">
                  <c:v>-12.51911633202954</c:v>
                </c:pt>
                <c:pt idx="152">
                  <c:v>-13.309831571170335</c:v>
                </c:pt>
                <c:pt idx="153">
                  <c:v>-8.5968002131791081</c:v>
                </c:pt>
                <c:pt idx="154">
                  <c:v>-12.397225167948605</c:v>
                </c:pt>
                <c:pt idx="155">
                  <c:v>-22.237844639042109</c:v>
                </c:pt>
                <c:pt idx="156">
                  <c:v>-29.281644497213378</c:v>
                </c:pt>
                <c:pt idx="157">
                  <c:v>-32.038303238777885</c:v>
                </c:pt>
                <c:pt idx="158">
                  <c:v>-28.750378615309685</c:v>
                </c:pt>
                <c:pt idx="159">
                  <c:v>-19.220501603316592</c:v>
                </c:pt>
                <c:pt idx="160">
                  <c:v>-14.517715958894968</c:v>
                </c:pt>
                <c:pt idx="161">
                  <c:v>-12.569687655148812</c:v>
                </c:pt>
                <c:pt idx="162">
                  <c:v>-15.982710037539306</c:v>
                </c:pt>
                <c:pt idx="163">
                  <c:v>-16.28088730663228</c:v>
                </c:pt>
                <c:pt idx="164">
                  <c:v>-14.285919461984392</c:v>
                </c:pt>
                <c:pt idx="165">
                  <c:v>-9.9685944220183558</c:v>
                </c:pt>
                <c:pt idx="166">
                  <c:v>-4.8479423538154407</c:v>
                </c:pt>
                <c:pt idx="167">
                  <c:v>1.1606539788606511</c:v>
                </c:pt>
                <c:pt idx="168">
                  <c:v>1.772688917734655</c:v>
                </c:pt>
                <c:pt idx="169">
                  <c:v>-3.562735854546176</c:v>
                </c:pt>
                <c:pt idx="170">
                  <c:v>0.37507739631882941</c:v>
                </c:pt>
                <c:pt idx="171">
                  <c:v>-0.45828437188622217</c:v>
                </c:pt>
                <c:pt idx="172">
                  <c:v>-2.2099488437219179</c:v>
                </c:pt>
                <c:pt idx="173">
                  <c:v>-2.5146081544980916</c:v>
                </c:pt>
                <c:pt idx="174">
                  <c:v>-5.4385988050168095</c:v>
                </c:pt>
                <c:pt idx="175">
                  <c:v>-10.258938549866429</c:v>
                </c:pt>
                <c:pt idx="176">
                  <c:v>-8.8671533664618494</c:v>
                </c:pt>
                <c:pt idx="177">
                  <c:v>-10.884477467572907</c:v>
                </c:pt>
                <c:pt idx="178">
                  <c:v>-10.877503686334094</c:v>
                </c:pt>
                <c:pt idx="179">
                  <c:v>-11.978946802555626</c:v>
                </c:pt>
                <c:pt idx="180">
                  <c:v>-15.194033326577568</c:v>
                </c:pt>
                <c:pt idx="181">
                  <c:v>-18.471156748177023</c:v>
                </c:pt>
                <c:pt idx="182">
                  <c:v>-14.848497258127509</c:v>
                </c:pt>
                <c:pt idx="183">
                  <c:v>-11.372872709445716</c:v>
                </c:pt>
                <c:pt idx="184">
                  <c:v>-2.4678473831525167</c:v>
                </c:pt>
                <c:pt idx="185">
                  <c:v>5.1788207924145411</c:v>
                </c:pt>
                <c:pt idx="186">
                  <c:v>13.178291357187248</c:v>
                </c:pt>
                <c:pt idx="187">
                  <c:v>22.729574443370154</c:v>
                </c:pt>
                <c:pt idx="188">
                  <c:v>16.060645151204866</c:v>
                </c:pt>
                <c:pt idx="189">
                  <c:v>14.263151494794329</c:v>
                </c:pt>
                <c:pt idx="190">
                  <c:v>2.8952578609679165</c:v>
                </c:pt>
                <c:pt idx="191">
                  <c:v>-1.7733117035732562</c:v>
                </c:pt>
                <c:pt idx="192">
                  <c:v>8.5889398452675181</c:v>
                </c:pt>
                <c:pt idx="193">
                  <c:v>12.180741241048153</c:v>
                </c:pt>
                <c:pt idx="194">
                  <c:v>20.73487998441928</c:v>
                </c:pt>
                <c:pt idx="195">
                  <c:v>20.833599891344747</c:v>
                </c:pt>
                <c:pt idx="196">
                  <c:v>13.812788438923462</c:v>
                </c:pt>
                <c:pt idx="197">
                  <c:v>16.686756669883906</c:v>
                </c:pt>
                <c:pt idx="198">
                  <c:v>25.004600021593376</c:v>
                </c:pt>
                <c:pt idx="199">
                  <c:v>33.713275359025431</c:v>
                </c:pt>
                <c:pt idx="200">
                  <c:v>36.057519313923279</c:v>
                </c:pt>
                <c:pt idx="201">
                  <c:v>36.25710782000283</c:v>
                </c:pt>
                <c:pt idx="202">
                  <c:v>29.315861960631906</c:v>
                </c:pt>
                <c:pt idx="203">
                  <c:v>24.928669806320485</c:v>
                </c:pt>
                <c:pt idx="204">
                  <c:v>29.39625655678725</c:v>
                </c:pt>
                <c:pt idx="205">
                  <c:v>30.032140334441692</c:v>
                </c:pt>
                <c:pt idx="206">
                  <c:v>33.964324879944257</c:v>
                </c:pt>
                <c:pt idx="207">
                  <c:v>50.812716965303366</c:v>
                </c:pt>
                <c:pt idx="208">
                  <c:v>69.806133262550958</c:v>
                </c:pt>
                <c:pt idx="209">
                  <c:v>63.939014892860456</c:v>
                </c:pt>
                <c:pt idx="210">
                  <c:v>41.989201903118328</c:v>
                </c:pt>
                <c:pt idx="211">
                  <c:v>17.349885904495466</c:v>
                </c:pt>
                <c:pt idx="212">
                  <c:v>0.52112034445342204</c:v>
                </c:pt>
                <c:pt idx="213">
                  <c:v>3.0264587391840365</c:v>
                </c:pt>
                <c:pt idx="214">
                  <c:v>12.905150267191146</c:v>
                </c:pt>
                <c:pt idx="215">
                  <c:v>12.901484757653463</c:v>
                </c:pt>
                <c:pt idx="216">
                  <c:v>14.000933387194664</c:v>
                </c:pt>
                <c:pt idx="217">
                  <c:v>13.360199465154764</c:v>
                </c:pt>
                <c:pt idx="218">
                  <c:v>6.8908671225011915</c:v>
                </c:pt>
                <c:pt idx="219">
                  <c:v>8.1668356073617332</c:v>
                </c:pt>
                <c:pt idx="220">
                  <c:v>8.9758466751233499</c:v>
                </c:pt>
                <c:pt idx="221">
                  <c:v>15.593996714145788</c:v>
                </c:pt>
                <c:pt idx="222">
                  <c:v>19.267665252230287</c:v>
                </c:pt>
                <c:pt idx="223">
                  <c:v>19.313619280732183</c:v>
                </c:pt>
                <c:pt idx="224">
                  <c:v>20.569778117585003</c:v>
                </c:pt>
                <c:pt idx="225">
                  <c:v>17.312373471820862</c:v>
                </c:pt>
                <c:pt idx="226">
                  <c:v>17.219819975376652</c:v>
                </c:pt>
                <c:pt idx="227">
                  <c:v>23.694572063429149</c:v>
                </c:pt>
                <c:pt idx="228">
                  <c:v>25.341669560846356</c:v>
                </c:pt>
                <c:pt idx="229">
                  <c:v>29.402900844702117</c:v>
                </c:pt>
                <c:pt idx="230">
                  <c:v>33.298151191728977</c:v>
                </c:pt>
                <c:pt idx="231">
                  <c:v>33.176689828326147</c:v>
                </c:pt>
                <c:pt idx="232">
                  <c:v>32.189189420665173</c:v>
                </c:pt>
                <c:pt idx="233">
                  <c:v>40.845662911078307</c:v>
                </c:pt>
                <c:pt idx="234">
                  <c:v>39.866367243619436</c:v>
                </c:pt>
                <c:pt idx="235">
                  <c:v>39.487215554902519</c:v>
                </c:pt>
                <c:pt idx="236">
                  <c:v>36.475769817241229</c:v>
                </c:pt>
                <c:pt idx="237">
                  <c:v>27.730136668325159</c:v>
                </c:pt>
                <c:pt idx="238">
                  <c:v>28.509865625596802</c:v>
                </c:pt>
                <c:pt idx="239">
                  <c:v>24.453631888411763</c:v>
                </c:pt>
                <c:pt idx="240">
                  <c:v>17.158250741417163</c:v>
                </c:pt>
                <c:pt idx="241">
                  <c:v>13.844538869473141</c:v>
                </c:pt>
                <c:pt idx="242">
                  <c:v>16.581949970042587</c:v>
                </c:pt>
                <c:pt idx="243">
                  <c:v>26.072660364675443</c:v>
                </c:pt>
                <c:pt idx="244">
                  <c:v>30.540379661043147</c:v>
                </c:pt>
                <c:pt idx="245">
                  <c:v>27.958590721240782</c:v>
                </c:pt>
                <c:pt idx="246">
                  <c:v>14.73836016334964</c:v>
                </c:pt>
                <c:pt idx="247">
                  <c:v>0.74224747306359973</c:v>
                </c:pt>
                <c:pt idx="248">
                  <c:v>3.246238014794244</c:v>
                </c:pt>
                <c:pt idx="249">
                  <c:v>1.6446868439216331</c:v>
                </c:pt>
                <c:pt idx="250">
                  <c:v>-0.52380912123696532</c:v>
                </c:pt>
                <c:pt idx="251">
                  <c:v>-2.366793595686616</c:v>
                </c:pt>
                <c:pt idx="252">
                  <c:v>-4.2138925632240927</c:v>
                </c:pt>
                <c:pt idx="253">
                  <c:v>-2.080157819618762</c:v>
                </c:pt>
                <c:pt idx="254">
                  <c:v>1.4450844084766175</c:v>
                </c:pt>
                <c:pt idx="255">
                  <c:v>1.8632314716157055</c:v>
                </c:pt>
                <c:pt idx="256">
                  <c:v>-2.1354716324637479</c:v>
                </c:pt>
                <c:pt idx="257">
                  <c:v>-5.3185505050664688</c:v>
                </c:pt>
                <c:pt idx="258">
                  <c:v>-3.6548055096312027</c:v>
                </c:pt>
                <c:pt idx="259">
                  <c:v>1.0245095227138421</c:v>
                </c:pt>
                <c:pt idx="260">
                  <c:v>-0.140861619972668</c:v>
                </c:pt>
                <c:pt idx="261">
                  <c:v>-1.6488117793581125</c:v>
                </c:pt>
                <c:pt idx="262">
                  <c:v>3.6528370388539031</c:v>
                </c:pt>
                <c:pt idx="263">
                  <c:v>3.2236162215364885</c:v>
                </c:pt>
                <c:pt idx="264">
                  <c:v>13.687003056437391</c:v>
                </c:pt>
                <c:pt idx="265">
                  <c:v>14.1478590261828</c:v>
                </c:pt>
                <c:pt idx="266">
                  <c:v>6.7567318184558616</c:v>
                </c:pt>
                <c:pt idx="267">
                  <c:v>7.906281643438831</c:v>
                </c:pt>
                <c:pt idx="268">
                  <c:v>7.0811334860924262</c:v>
                </c:pt>
                <c:pt idx="269">
                  <c:v>7.8835968295472014</c:v>
                </c:pt>
                <c:pt idx="270">
                  <c:v>9.5875100997904639</c:v>
                </c:pt>
                <c:pt idx="271">
                  <c:v>5.5343540674235072</c:v>
                </c:pt>
                <c:pt idx="272">
                  <c:v>5.6351212354666558</c:v>
                </c:pt>
                <c:pt idx="273">
                  <c:v>2.0673561760950605</c:v>
                </c:pt>
                <c:pt idx="274">
                  <c:v>-1.1001925280639711</c:v>
                </c:pt>
                <c:pt idx="275">
                  <c:v>0.10874951566981395</c:v>
                </c:pt>
                <c:pt idx="276">
                  <c:v>-2.6822725821147486</c:v>
                </c:pt>
                <c:pt idx="277">
                  <c:v>-2.4820518718867675</c:v>
                </c:pt>
                <c:pt idx="278">
                  <c:v>0.63938625331940102</c:v>
                </c:pt>
                <c:pt idx="279">
                  <c:v>2.5893860927653805</c:v>
                </c:pt>
                <c:pt idx="280">
                  <c:v>4.650124063932509</c:v>
                </c:pt>
                <c:pt idx="281">
                  <c:v>7.1343339200362408</c:v>
                </c:pt>
                <c:pt idx="282">
                  <c:v>4.8132974333667846</c:v>
                </c:pt>
                <c:pt idx="283">
                  <c:v>3.6024951335724325</c:v>
                </c:pt>
                <c:pt idx="284">
                  <c:v>4.4114140273109967</c:v>
                </c:pt>
                <c:pt idx="285">
                  <c:v>2.806398421013796</c:v>
                </c:pt>
                <c:pt idx="286">
                  <c:v>3.1874890120052726</c:v>
                </c:pt>
                <c:pt idx="287">
                  <c:v>3.2882071455063056</c:v>
                </c:pt>
                <c:pt idx="288">
                  <c:v>2.2275711695407807</c:v>
                </c:pt>
                <c:pt idx="289">
                  <c:v>4.2370497275221481</c:v>
                </c:pt>
                <c:pt idx="290">
                  <c:v>4.743397279877243</c:v>
                </c:pt>
                <c:pt idx="291">
                  <c:v>4.0439578118569983</c:v>
                </c:pt>
                <c:pt idx="292">
                  <c:v>11.385328782948307</c:v>
                </c:pt>
                <c:pt idx="293">
                  <c:v>12.944500693896373</c:v>
                </c:pt>
                <c:pt idx="294">
                  <c:v>13.786802788659543</c:v>
                </c:pt>
                <c:pt idx="295">
                  <c:v>12.346980991207346</c:v>
                </c:pt>
                <c:pt idx="296">
                  <c:v>3.4717645286000902</c:v>
                </c:pt>
                <c:pt idx="297">
                  <c:v>-3.5115699450704909</c:v>
                </c:pt>
                <c:pt idx="298">
                  <c:v>1.0492360947990846</c:v>
                </c:pt>
                <c:pt idx="299">
                  <c:v>8.3100788347352079</c:v>
                </c:pt>
                <c:pt idx="300">
                  <c:v>7.0089659113099998</c:v>
                </c:pt>
                <c:pt idx="301">
                  <c:v>17.213415520696245</c:v>
                </c:pt>
                <c:pt idx="302">
                  <c:v>16.048049908996049</c:v>
                </c:pt>
                <c:pt idx="303">
                  <c:v>14.697396619177994</c:v>
                </c:pt>
                <c:pt idx="304">
                  <c:v>18.128642976599352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3-A15F-4465-BB40-C6A6CC259C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58364608"/>
        <c:axId val="-158376032"/>
        <c:extLst xmlns:c16r2="http://schemas.microsoft.com/office/drawing/2015/06/chart">
          <c:ext xmlns:c15="http://schemas.microsoft.com/office/drawing/2012/chart" uri="{02D57815-91ED-43cb-92C2-25804820EDAC}">
            <c15:filteredLineSeries>
              <c15:ser>
                <c:idx val="2"/>
                <c:order val="1"/>
                <c:tx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'指数合成-1.0'!$DE$8</c15:sqref>
                        </c15:formulaRef>
                      </c:ext>
                    </c:extLst>
                    <c:strCache>
                      <c:ptCount val="1"/>
                      <c:pt idx="0">
                        <c:v>居民收入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'指数合成-1.0'!$DC$67:$DC$371</c15:sqref>
                        </c15:formulaRef>
                      </c:ext>
                    </c:extLst>
                    <c:numCache>
                      <c:formatCode>yyyy\-mm\-dd</c:formatCode>
                      <c:ptCount val="305"/>
                      <c:pt idx="0">
                        <c:v>43875</c:v>
                      </c:pt>
                      <c:pt idx="1">
                        <c:v>43882</c:v>
                      </c:pt>
                      <c:pt idx="2">
                        <c:v>43889</c:v>
                      </c:pt>
                      <c:pt idx="3">
                        <c:v>43896</c:v>
                      </c:pt>
                      <c:pt idx="4">
                        <c:v>43903</c:v>
                      </c:pt>
                      <c:pt idx="5">
                        <c:v>43910</c:v>
                      </c:pt>
                      <c:pt idx="6">
                        <c:v>43917</c:v>
                      </c:pt>
                      <c:pt idx="7">
                        <c:v>43924</c:v>
                      </c:pt>
                      <c:pt idx="8">
                        <c:v>43931</c:v>
                      </c:pt>
                      <c:pt idx="9">
                        <c:v>43938</c:v>
                      </c:pt>
                      <c:pt idx="10">
                        <c:v>43945</c:v>
                      </c:pt>
                      <c:pt idx="11">
                        <c:v>43952</c:v>
                      </c:pt>
                      <c:pt idx="12">
                        <c:v>43959</c:v>
                      </c:pt>
                      <c:pt idx="13">
                        <c:v>43966</c:v>
                      </c:pt>
                      <c:pt idx="14">
                        <c:v>43973</c:v>
                      </c:pt>
                      <c:pt idx="15">
                        <c:v>43980</c:v>
                      </c:pt>
                      <c:pt idx="16">
                        <c:v>43987</c:v>
                      </c:pt>
                      <c:pt idx="17">
                        <c:v>43994</c:v>
                      </c:pt>
                      <c:pt idx="18">
                        <c:v>44001</c:v>
                      </c:pt>
                      <c:pt idx="19">
                        <c:v>44008</c:v>
                      </c:pt>
                      <c:pt idx="20">
                        <c:v>44015</c:v>
                      </c:pt>
                      <c:pt idx="21">
                        <c:v>44022</c:v>
                      </c:pt>
                      <c:pt idx="22">
                        <c:v>44029</c:v>
                      </c:pt>
                      <c:pt idx="23">
                        <c:v>44036</c:v>
                      </c:pt>
                      <c:pt idx="24">
                        <c:v>44043</c:v>
                      </c:pt>
                      <c:pt idx="25">
                        <c:v>44050</c:v>
                      </c:pt>
                      <c:pt idx="26">
                        <c:v>44057</c:v>
                      </c:pt>
                      <c:pt idx="27">
                        <c:v>44064</c:v>
                      </c:pt>
                      <c:pt idx="28">
                        <c:v>44071</c:v>
                      </c:pt>
                      <c:pt idx="29">
                        <c:v>44078</c:v>
                      </c:pt>
                      <c:pt idx="30">
                        <c:v>44085</c:v>
                      </c:pt>
                      <c:pt idx="31">
                        <c:v>44092</c:v>
                      </c:pt>
                      <c:pt idx="32">
                        <c:v>44099</c:v>
                      </c:pt>
                      <c:pt idx="33">
                        <c:v>44106</c:v>
                      </c:pt>
                      <c:pt idx="34">
                        <c:v>44113</c:v>
                      </c:pt>
                      <c:pt idx="35">
                        <c:v>44120</c:v>
                      </c:pt>
                      <c:pt idx="36">
                        <c:v>44127</c:v>
                      </c:pt>
                      <c:pt idx="37">
                        <c:v>44134</c:v>
                      </c:pt>
                      <c:pt idx="38">
                        <c:v>44141</c:v>
                      </c:pt>
                      <c:pt idx="39">
                        <c:v>44148</c:v>
                      </c:pt>
                      <c:pt idx="40">
                        <c:v>44155</c:v>
                      </c:pt>
                      <c:pt idx="41">
                        <c:v>44162</c:v>
                      </c:pt>
                      <c:pt idx="42">
                        <c:v>44169</c:v>
                      </c:pt>
                      <c:pt idx="43">
                        <c:v>44176</c:v>
                      </c:pt>
                      <c:pt idx="44">
                        <c:v>44183</c:v>
                      </c:pt>
                      <c:pt idx="45">
                        <c:v>44190</c:v>
                      </c:pt>
                      <c:pt idx="46">
                        <c:v>44197</c:v>
                      </c:pt>
                      <c:pt idx="47">
                        <c:v>44204</c:v>
                      </c:pt>
                      <c:pt idx="48">
                        <c:v>44211</c:v>
                      </c:pt>
                      <c:pt idx="49">
                        <c:v>44218</c:v>
                      </c:pt>
                      <c:pt idx="50">
                        <c:v>44225</c:v>
                      </c:pt>
                      <c:pt idx="51">
                        <c:v>44232</c:v>
                      </c:pt>
                      <c:pt idx="52">
                        <c:v>44239</c:v>
                      </c:pt>
                      <c:pt idx="53">
                        <c:v>44246</c:v>
                      </c:pt>
                      <c:pt idx="54">
                        <c:v>44253</c:v>
                      </c:pt>
                      <c:pt idx="55">
                        <c:v>44260</c:v>
                      </c:pt>
                      <c:pt idx="56">
                        <c:v>44267</c:v>
                      </c:pt>
                      <c:pt idx="57">
                        <c:v>44274</c:v>
                      </c:pt>
                      <c:pt idx="58">
                        <c:v>44281</c:v>
                      </c:pt>
                      <c:pt idx="59">
                        <c:v>44288</c:v>
                      </c:pt>
                      <c:pt idx="60">
                        <c:v>44295</c:v>
                      </c:pt>
                      <c:pt idx="61">
                        <c:v>44302</c:v>
                      </c:pt>
                      <c:pt idx="62">
                        <c:v>44309</c:v>
                      </c:pt>
                      <c:pt idx="63">
                        <c:v>44316</c:v>
                      </c:pt>
                      <c:pt idx="64">
                        <c:v>44323</c:v>
                      </c:pt>
                      <c:pt idx="65">
                        <c:v>44330</c:v>
                      </c:pt>
                      <c:pt idx="66">
                        <c:v>44337</c:v>
                      </c:pt>
                      <c:pt idx="67">
                        <c:v>44344</c:v>
                      </c:pt>
                      <c:pt idx="68">
                        <c:v>44351</c:v>
                      </c:pt>
                      <c:pt idx="69">
                        <c:v>44358</c:v>
                      </c:pt>
                      <c:pt idx="70">
                        <c:v>44365</c:v>
                      </c:pt>
                      <c:pt idx="71">
                        <c:v>44372</c:v>
                      </c:pt>
                      <c:pt idx="72">
                        <c:v>44379</c:v>
                      </c:pt>
                      <c:pt idx="73">
                        <c:v>44386</c:v>
                      </c:pt>
                      <c:pt idx="74">
                        <c:v>44393</c:v>
                      </c:pt>
                      <c:pt idx="75">
                        <c:v>44400</c:v>
                      </c:pt>
                      <c:pt idx="76">
                        <c:v>44407</c:v>
                      </c:pt>
                      <c:pt idx="77">
                        <c:v>44414</c:v>
                      </c:pt>
                      <c:pt idx="78">
                        <c:v>44421</c:v>
                      </c:pt>
                      <c:pt idx="79">
                        <c:v>44428</c:v>
                      </c:pt>
                      <c:pt idx="80">
                        <c:v>44435</c:v>
                      </c:pt>
                      <c:pt idx="81">
                        <c:v>44442</c:v>
                      </c:pt>
                      <c:pt idx="82">
                        <c:v>44449</c:v>
                      </c:pt>
                      <c:pt idx="83">
                        <c:v>44456</c:v>
                      </c:pt>
                      <c:pt idx="84">
                        <c:v>44463</c:v>
                      </c:pt>
                      <c:pt idx="85">
                        <c:v>44470</c:v>
                      </c:pt>
                      <c:pt idx="86">
                        <c:v>44477</c:v>
                      </c:pt>
                      <c:pt idx="87">
                        <c:v>44484</c:v>
                      </c:pt>
                      <c:pt idx="88">
                        <c:v>44491</c:v>
                      </c:pt>
                      <c:pt idx="89">
                        <c:v>44498</c:v>
                      </c:pt>
                      <c:pt idx="90">
                        <c:v>44505</c:v>
                      </c:pt>
                      <c:pt idx="91">
                        <c:v>44512</c:v>
                      </c:pt>
                      <c:pt idx="92">
                        <c:v>44519</c:v>
                      </c:pt>
                      <c:pt idx="93">
                        <c:v>44526</c:v>
                      </c:pt>
                      <c:pt idx="94">
                        <c:v>44533</c:v>
                      </c:pt>
                      <c:pt idx="95">
                        <c:v>44540</c:v>
                      </c:pt>
                      <c:pt idx="96">
                        <c:v>44547</c:v>
                      </c:pt>
                      <c:pt idx="97">
                        <c:v>44554</c:v>
                      </c:pt>
                      <c:pt idx="98">
                        <c:v>44561</c:v>
                      </c:pt>
                      <c:pt idx="99">
                        <c:v>44568</c:v>
                      </c:pt>
                      <c:pt idx="100">
                        <c:v>44575</c:v>
                      </c:pt>
                      <c:pt idx="101">
                        <c:v>44582</c:v>
                      </c:pt>
                      <c:pt idx="102">
                        <c:v>44589</c:v>
                      </c:pt>
                      <c:pt idx="103">
                        <c:v>44596</c:v>
                      </c:pt>
                      <c:pt idx="104">
                        <c:v>44603</c:v>
                      </c:pt>
                      <c:pt idx="105">
                        <c:v>44610</c:v>
                      </c:pt>
                      <c:pt idx="106">
                        <c:v>44617</c:v>
                      </c:pt>
                      <c:pt idx="107">
                        <c:v>44624</c:v>
                      </c:pt>
                      <c:pt idx="108">
                        <c:v>44631</c:v>
                      </c:pt>
                      <c:pt idx="109">
                        <c:v>44638</c:v>
                      </c:pt>
                      <c:pt idx="110">
                        <c:v>44645</c:v>
                      </c:pt>
                      <c:pt idx="111">
                        <c:v>44652</c:v>
                      </c:pt>
                      <c:pt idx="112">
                        <c:v>44659</c:v>
                      </c:pt>
                      <c:pt idx="113">
                        <c:v>44666</c:v>
                      </c:pt>
                      <c:pt idx="114">
                        <c:v>44673</c:v>
                      </c:pt>
                      <c:pt idx="115">
                        <c:v>44680</c:v>
                      </c:pt>
                      <c:pt idx="116">
                        <c:v>44687</c:v>
                      </c:pt>
                      <c:pt idx="117">
                        <c:v>44694</c:v>
                      </c:pt>
                      <c:pt idx="118">
                        <c:v>44701</c:v>
                      </c:pt>
                      <c:pt idx="119">
                        <c:v>44708</c:v>
                      </c:pt>
                      <c:pt idx="120">
                        <c:v>44715</c:v>
                      </c:pt>
                      <c:pt idx="121">
                        <c:v>44722</c:v>
                      </c:pt>
                      <c:pt idx="122">
                        <c:v>44729</c:v>
                      </c:pt>
                      <c:pt idx="123">
                        <c:v>44736</c:v>
                      </c:pt>
                      <c:pt idx="124">
                        <c:v>44743</c:v>
                      </c:pt>
                      <c:pt idx="125">
                        <c:v>44750</c:v>
                      </c:pt>
                      <c:pt idx="126">
                        <c:v>44757</c:v>
                      </c:pt>
                      <c:pt idx="127">
                        <c:v>44764</c:v>
                      </c:pt>
                      <c:pt idx="128">
                        <c:v>44771</c:v>
                      </c:pt>
                      <c:pt idx="129">
                        <c:v>44778</c:v>
                      </c:pt>
                      <c:pt idx="130">
                        <c:v>44785</c:v>
                      </c:pt>
                      <c:pt idx="131">
                        <c:v>44792</c:v>
                      </c:pt>
                      <c:pt idx="132">
                        <c:v>44799</c:v>
                      </c:pt>
                      <c:pt idx="133">
                        <c:v>44806</c:v>
                      </c:pt>
                      <c:pt idx="134">
                        <c:v>44813</c:v>
                      </c:pt>
                      <c:pt idx="135">
                        <c:v>44820</c:v>
                      </c:pt>
                      <c:pt idx="136">
                        <c:v>44827</c:v>
                      </c:pt>
                      <c:pt idx="137">
                        <c:v>44834</c:v>
                      </c:pt>
                      <c:pt idx="138">
                        <c:v>44841</c:v>
                      </c:pt>
                      <c:pt idx="139">
                        <c:v>44848</c:v>
                      </c:pt>
                      <c:pt idx="140">
                        <c:v>44855</c:v>
                      </c:pt>
                      <c:pt idx="141">
                        <c:v>44862</c:v>
                      </c:pt>
                      <c:pt idx="142">
                        <c:v>44869</c:v>
                      </c:pt>
                      <c:pt idx="143">
                        <c:v>44876</c:v>
                      </c:pt>
                      <c:pt idx="144">
                        <c:v>44883</c:v>
                      </c:pt>
                      <c:pt idx="145">
                        <c:v>44890</c:v>
                      </c:pt>
                      <c:pt idx="146">
                        <c:v>44897</c:v>
                      </c:pt>
                      <c:pt idx="147">
                        <c:v>44904</c:v>
                      </c:pt>
                      <c:pt idx="148">
                        <c:v>44911</c:v>
                      </c:pt>
                      <c:pt idx="149">
                        <c:v>44918</c:v>
                      </c:pt>
                      <c:pt idx="150">
                        <c:v>44925</c:v>
                      </c:pt>
                      <c:pt idx="151">
                        <c:v>44932</c:v>
                      </c:pt>
                      <c:pt idx="152">
                        <c:v>44939</c:v>
                      </c:pt>
                      <c:pt idx="153">
                        <c:v>44946</c:v>
                      </c:pt>
                      <c:pt idx="154">
                        <c:v>44953</c:v>
                      </c:pt>
                      <c:pt idx="155">
                        <c:v>44960</c:v>
                      </c:pt>
                      <c:pt idx="156">
                        <c:v>44967</c:v>
                      </c:pt>
                      <c:pt idx="157">
                        <c:v>44974</c:v>
                      </c:pt>
                      <c:pt idx="158">
                        <c:v>44981</c:v>
                      </c:pt>
                      <c:pt idx="159">
                        <c:v>44988</c:v>
                      </c:pt>
                      <c:pt idx="160">
                        <c:v>44995</c:v>
                      </c:pt>
                      <c:pt idx="161">
                        <c:v>45002</c:v>
                      </c:pt>
                      <c:pt idx="162">
                        <c:v>45009</c:v>
                      </c:pt>
                      <c:pt idx="163">
                        <c:v>45016</c:v>
                      </c:pt>
                      <c:pt idx="164">
                        <c:v>45023</c:v>
                      </c:pt>
                      <c:pt idx="165">
                        <c:v>45030</c:v>
                      </c:pt>
                      <c:pt idx="166">
                        <c:v>45037</c:v>
                      </c:pt>
                      <c:pt idx="167">
                        <c:v>45044</c:v>
                      </c:pt>
                      <c:pt idx="168">
                        <c:v>45051</c:v>
                      </c:pt>
                      <c:pt idx="169">
                        <c:v>45058</c:v>
                      </c:pt>
                      <c:pt idx="170">
                        <c:v>45065</c:v>
                      </c:pt>
                      <c:pt idx="171">
                        <c:v>45072</c:v>
                      </c:pt>
                      <c:pt idx="172">
                        <c:v>45079</c:v>
                      </c:pt>
                      <c:pt idx="173">
                        <c:v>45086</c:v>
                      </c:pt>
                      <c:pt idx="174">
                        <c:v>45093</c:v>
                      </c:pt>
                      <c:pt idx="175">
                        <c:v>45100</c:v>
                      </c:pt>
                      <c:pt idx="176">
                        <c:v>45107</c:v>
                      </c:pt>
                      <c:pt idx="177">
                        <c:v>45114</c:v>
                      </c:pt>
                      <c:pt idx="178">
                        <c:v>45121</c:v>
                      </c:pt>
                      <c:pt idx="179">
                        <c:v>45128</c:v>
                      </c:pt>
                      <c:pt idx="180">
                        <c:v>45135</c:v>
                      </c:pt>
                      <c:pt idx="181">
                        <c:v>45142</c:v>
                      </c:pt>
                      <c:pt idx="182">
                        <c:v>45149</c:v>
                      </c:pt>
                      <c:pt idx="183">
                        <c:v>45156</c:v>
                      </c:pt>
                      <c:pt idx="184">
                        <c:v>45163</c:v>
                      </c:pt>
                      <c:pt idx="185">
                        <c:v>45170</c:v>
                      </c:pt>
                      <c:pt idx="186">
                        <c:v>45177</c:v>
                      </c:pt>
                      <c:pt idx="187">
                        <c:v>45184</c:v>
                      </c:pt>
                      <c:pt idx="188">
                        <c:v>45191</c:v>
                      </c:pt>
                      <c:pt idx="189">
                        <c:v>45198</c:v>
                      </c:pt>
                      <c:pt idx="190">
                        <c:v>45205</c:v>
                      </c:pt>
                      <c:pt idx="191">
                        <c:v>45212</c:v>
                      </c:pt>
                      <c:pt idx="192">
                        <c:v>45219</c:v>
                      </c:pt>
                      <c:pt idx="193">
                        <c:v>45226</c:v>
                      </c:pt>
                      <c:pt idx="194">
                        <c:v>45233</c:v>
                      </c:pt>
                      <c:pt idx="195">
                        <c:v>45240</c:v>
                      </c:pt>
                      <c:pt idx="196">
                        <c:v>45247</c:v>
                      </c:pt>
                      <c:pt idx="197">
                        <c:v>45254</c:v>
                      </c:pt>
                      <c:pt idx="198">
                        <c:v>45261</c:v>
                      </c:pt>
                      <c:pt idx="199">
                        <c:v>45268</c:v>
                      </c:pt>
                      <c:pt idx="200">
                        <c:v>45275</c:v>
                      </c:pt>
                      <c:pt idx="201">
                        <c:v>45282</c:v>
                      </c:pt>
                      <c:pt idx="202">
                        <c:v>45289</c:v>
                      </c:pt>
                      <c:pt idx="203">
                        <c:v>45296</c:v>
                      </c:pt>
                      <c:pt idx="204">
                        <c:v>45303</c:v>
                      </c:pt>
                      <c:pt idx="205">
                        <c:v>45310</c:v>
                      </c:pt>
                      <c:pt idx="206">
                        <c:v>45317</c:v>
                      </c:pt>
                      <c:pt idx="207">
                        <c:v>45324</c:v>
                      </c:pt>
                      <c:pt idx="208">
                        <c:v>45331</c:v>
                      </c:pt>
                      <c:pt idx="209">
                        <c:v>45338</c:v>
                      </c:pt>
                      <c:pt idx="210">
                        <c:v>45345</c:v>
                      </c:pt>
                      <c:pt idx="211">
                        <c:v>45352</c:v>
                      </c:pt>
                      <c:pt idx="212">
                        <c:v>45359</c:v>
                      </c:pt>
                      <c:pt idx="213">
                        <c:v>45366</c:v>
                      </c:pt>
                      <c:pt idx="214">
                        <c:v>45373</c:v>
                      </c:pt>
                      <c:pt idx="215">
                        <c:v>45380</c:v>
                      </c:pt>
                      <c:pt idx="216">
                        <c:v>45387</c:v>
                      </c:pt>
                      <c:pt idx="217">
                        <c:v>45394</c:v>
                      </c:pt>
                      <c:pt idx="218">
                        <c:v>45401</c:v>
                      </c:pt>
                      <c:pt idx="219">
                        <c:v>45408</c:v>
                      </c:pt>
                      <c:pt idx="220">
                        <c:v>45415</c:v>
                      </c:pt>
                      <c:pt idx="221">
                        <c:v>45422</c:v>
                      </c:pt>
                      <c:pt idx="222">
                        <c:v>45429</c:v>
                      </c:pt>
                      <c:pt idx="223">
                        <c:v>45436</c:v>
                      </c:pt>
                      <c:pt idx="224">
                        <c:v>45443</c:v>
                      </c:pt>
                      <c:pt idx="225">
                        <c:v>45450</c:v>
                      </c:pt>
                      <c:pt idx="226">
                        <c:v>45457</c:v>
                      </c:pt>
                      <c:pt idx="227">
                        <c:v>45464</c:v>
                      </c:pt>
                      <c:pt idx="228">
                        <c:v>45471</c:v>
                      </c:pt>
                      <c:pt idx="229">
                        <c:v>45478</c:v>
                      </c:pt>
                      <c:pt idx="230">
                        <c:v>45485</c:v>
                      </c:pt>
                      <c:pt idx="231">
                        <c:v>45492</c:v>
                      </c:pt>
                      <c:pt idx="232">
                        <c:v>45499</c:v>
                      </c:pt>
                      <c:pt idx="233">
                        <c:v>45506</c:v>
                      </c:pt>
                      <c:pt idx="234">
                        <c:v>45513</c:v>
                      </c:pt>
                      <c:pt idx="235">
                        <c:v>45520</c:v>
                      </c:pt>
                      <c:pt idx="236">
                        <c:v>45527</c:v>
                      </c:pt>
                      <c:pt idx="237">
                        <c:v>45534</c:v>
                      </c:pt>
                      <c:pt idx="238">
                        <c:v>45541</c:v>
                      </c:pt>
                      <c:pt idx="239">
                        <c:v>45548</c:v>
                      </c:pt>
                      <c:pt idx="240">
                        <c:v>45555</c:v>
                      </c:pt>
                      <c:pt idx="241">
                        <c:v>45562</c:v>
                      </c:pt>
                      <c:pt idx="242">
                        <c:v>45569</c:v>
                      </c:pt>
                      <c:pt idx="243">
                        <c:v>45576</c:v>
                      </c:pt>
                      <c:pt idx="244">
                        <c:v>45583</c:v>
                      </c:pt>
                      <c:pt idx="245">
                        <c:v>45590</c:v>
                      </c:pt>
                      <c:pt idx="246">
                        <c:v>45597</c:v>
                      </c:pt>
                      <c:pt idx="247">
                        <c:v>45604</c:v>
                      </c:pt>
                      <c:pt idx="248">
                        <c:v>45611</c:v>
                      </c:pt>
                      <c:pt idx="249">
                        <c:v>45618</c:v>
                      </c:pt>
                      <c:pt idx="250">
                        <c:v>45625</c:v>
                      </c:pt>
                      <c:pt idx="251">
                        <c:v>45632</c:v>
                      </c:pt>
                      <c:pt idx="252">
                        <c:v>45639</c:v>
                      </c:pt>
                      <c:pt idx="253">
                        <c:v>45646</c:v>
                      </c:pt>
                      <c:pt idx="254">
                        <c:v>45653</c:v>
                      </c:pt>
                      <c:pt idx="255">
                        <c:v>45660</c:v>
                      </c:pt>
                      <c:pt idx="256">
                        <c:v>45667</c:v>
                      </c:pt>
                      <c:pt idx="257">
                        <c:v>45674</c:v>
                      </c:pt>
                      <c:pt idx="258">
                        <c:v>45681</c:v>
                      </c:pt>
                      <c:pt idx="259">
                        <c:v>45688</c:v>
                      </c:pt>
                      <c:pt idx="260">
                        <c:v>45695</c:v>
                      </c:pt>
                      <c:pt idx="261">
                        <c:v>45702</c:v>
                      </c:pt>
                      <c:pt idx="262">
                        <c:v>45709</c:v>
                      </c:pt>
                      <c:pt idx="263">
                        <c:v>45716</c:v>
                      </c:pt>
                      <c:pt idx="264">
                        <c:v>45723</c:v>
                      </c:pt>
                      <c:pt idx="265">
                        <c:v>45730</c:v>
                      </c:pt>
                      <c:pt idx="266">
                        <c:v>45737</c:v>
                      </c:pt>
                      <c:pt idx="267">
                        <c:v>45744</c:v>
                      </c:pt>
                      <c:pt idx="268">
                        <c:v>45751</c:v>
                      </c:pt>
                      <c:pt idx="269">
                        <c:v>45758</c:v>
                      </c:pt>
                      <c:pt idx="270">
                        <c:v>45765</c:v>
                      </c:pt>
                      <c:pt idx="271">
                        <c:v>45772</c:v>
                      </c:pt>
                      <c:pt idx="272">
                        <c:v>45779</c:v>
                      </c:pt>
                      <c:pt idx="273">
                        <c:v>45786</c:v>
                      </c:pt>
                      <c:pt idx="274">
                        <c:v>45793</c:v>
                      </c:pt>
                      <c:pt idx="275">
                        <c:v>45800</c:v>
                      </c:pt>
                      <c:pt idx="276">
                        <c:v>45807</c:v>
                      </c:pt>
                      <c:pt idx="277">
                        <c:v>45814</c:v>
                      </c:pt>
                      <c:pt idx="278">
                        <c:v>45821</c:v>
                      </c:pt>
                      <c:pt idx="279">
                        <c:v>45828</c:v>
                      </c:pt>
                      <c:pt idx="280">
                        <c:v>45835</c:v>
                      </c:pt>
                      <c:pt idx="281">
                        <c:v>45842</c:v>
                      </c:pt>
                      <c:pt idx="282">
                        <c:v>45849</c:v>
                      </c:pt>
                      <c:pt idx="283">
                        <c:v>45856</c:v>
                      </c:pt>
                      <c:pt idx="284">
                        <c:v>45863</c:v>
                      </c:pt>
                      <c:pt idx="285">
                        <c:v>45870</c:v>
                      </c:pt>
                      <c:pt idx="286">
                        <c:v>45877</c:v>
                      </c:pt>
                      <c:pt idx="287">
                        <c:v>45884</c:v>
                      </c:pt>
                      <c:pt idx="288">
                        <c:v>45891</c:v>
                      </c:pt>
                      <c:pt idx="289">
                        <c:v>45898</c:v>
                      </c:pt>
                      <c:pt idx="290">
                        <c:v>45905</c:v>
                      </c:pt>
                      <c:pt idx="291">
                        <c:v>45912</c:v>
                      </c:pt>
                      <c:pt idx="292">
                        <c:v>45919</c:v>
                      </c:pt>
                      <c:pt idx="293">
                        <c:v>45926</c:v>
                      </c:pt>
                      <c:pt idx="294">
                        <c:v>45933</c:v>
                      </c:pt>
                      <c:pt idx="295">
                        <c:v>45940</c:v>
                      </c:pt>
                      <c:pt idx="296">
                        <c:v>45947</c:v>
                      </c:pt>
                      <c:pt idx="297">
                        <c:v>45954</c:v>
                      </c:pt>
                      <c:pt idx="298">
                        <c:v>45961</c:v>
                      </c:pt>
                      <c:pt idx="299">
                        <c:v>45968</c:v>
                      </c:pt>
                      <c:pt idx="300">
                        <c:v>45975</c:v>
                      </c:pt>
                      <c:pt idx="301">
                        <c:v>45982</c:v>
                      </c:pt>
                      <c:pt idx="302">
                        <c:v>45989</c:v>
                      </c:pt>
                      <c:pt idx="303">
                        <c:v>45996</c:v>
                      </c:pt>
                      <c:pt idx="304">
                        <c:v>46003</c:v>
                      </c:pt>
                    </c:numCache>
                  </c:numRef>
                </c:cat>
                <c:val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'指数合成-1.0'!$DE$67:$DE$371</c15:sqref>
                        </c15:formulaRef>
                      </c:ext>
                    </c:extLst>
                    <c:numCache>
                      <c:formatCode>0.0</c:formatCode>
                      <c:ptCount val="305"/>
                      <c:pt idx="0">
                        <c:v>8.8990049060252403</c:v>
                      </c:pt>
                      <c:pt idx="1">
                        <c:v>8.2209830886924635</c:v>
                      </c:pt>
                      <c:pt idx="2">
                        <c:v>10.247602332222456</c:v>
                      </c:pt>
                      <c:pt idx="3">
                        <c:v>14.307906684788634</c:v>
                      </c:pt>
                      <c:pt idx="4">
                        <c:v>18.511490059001929</c:v>
                      </c:pt>
                      <c:pt idx="5">
                        <c:v>13.595758090170335</c:v>
                      </c:pt>
                      <c:pt idx="6">
                        <c:v>-0.39214117584408825</c:v>
                      </c:pt>
                      <c:pt idx="7">
                        <c:v>-26.145303086109777</c:v>
                      </c:pt>
                      <c:pt idx="8">
                        <c:v>-45.588763184790125</c:v>
                      </c:pt>
                      <c:pt idx="9">
                        <c:v>-65.90384351854749</c:v>
                      </c:pt>
                      <c:pt idx="10">
                        <c:v>-79.092969422072287</c:v>
                      </c:pt>
                      <c:pt idx="11">
                        <c:v>-74.109642009840968</c:v>
                      </c:pt>
                      <c:pt idx="12">
                        <c:v>-67.234467600633138</c:v>
                      </c:pt>
                      <c:pt idx="13">
                        <c:v>-57.184589937566486</c:v>
                      </c:pt>
                      <c:pt idx="14">
                        <c:v>-44.109620561362938</c:v>
                      </c:pt>
                      <c:pt idx="15">
                        <c:v>-35.803814999598885</c:v>
                      </c:pt>
                      <c:pt idx="16">
                        <c:v>-29.865805883895391</c:v>
                      </c:pt>
                      <c:pt idx="17">
                        <c:v>-26.544225750933109</c:v>
                      </c:pt>
                      <c:pt idx="18">
                        <c:v>-24.172068240854443</c:v>
                      </c:pt>
                      <c:pt idx="19">
                        <c:v>-18.697500925559993</c:v>
                      </c:pt>
                      <c:pt idx="20">
                        <c:v>-18.059879841100567</c:v>
                      </c:pt>
                      <c:pt idx="21">
                        <c:v>-12.789579094839638</c:v>
                      </c:pt>
                      <c:pt idx="22">
                        <c:v>-11.401457410158528</c:v>
                      </c:pt>
                      <c:pt idx="23">
                        <c:v>-12.395612965343204</c:v>
                      </c:pt>
                      <c:pt idx="24">
                        <c:v>-9.2980824824174846</c:v>
                      </c:pt>
                      <c:pt idx="25">
                        <c:v>-10.011918427266394</c:v>
                      </c:pt>
                      <c:pt idx="26">
                        <c:v>-8.4743276287648257</c:v>
                      </c:pt>
                      <c:pt idx="27">
                        <c:v>-6.4476464625003445</c:v>
                      </c:pt>
                      <c:pt idx="28">
                        <c:v>-5.3447203225851325</c:v>
                      </c:pt>
                      <c:pt idx="29">
                        <c:v>-1.73851921530742</c:v>
                      </c:pt>
                      <c:pt idx="30">
                        <c:v>-0.57066827156837974</c:v>
                      </c:pt>
                      <c:pt idx="31">
                        <c:v>-0.49768658246979669</c:v>
                      </c:pt>
                      <c:pt idx="32">
                        <c:v>-0.9182902215428328</c:v>
                      </c:pt>
                      <c:pt idx="33">
                        <c:v>-3.7368215897728874</c:v>
                      </c:pt>
                      <c:pt idx="34">
                        <c:v>-0.55892901972922004</c:v>
                      </c:pt>
                      <c:pt idx="35">
                        <c:v>1.7642494835943978</c:v>
                      </c:pt>
                      <c:pt idx="36">
                        <c:v>7.338839925584665</c:v>
                      </c:pt>
                      <c:pt idx="37">
                        <c:v>12.466918635679519</c:v>
                      </c:pt>
                      <c:pt idx="38">
                        <c:v>13.010321455845173</c:v>
                      </c:pt>
                      <c:pt idx="39">
                        <c:v>12.900154470775831</c:v>
                      </c:pt>
                      <c:pt idx="40">
                        <c:v>11.426345599597056</c:v>
                      </c:pt>
                      <c:pt idx="41">
                        <c:v>10.212520988570887</c:v>
                      </c:pt>
                      <c:pt idx="42">
                        <c:v>7.2116230722230057</c:v>
                      </c:pt>
                      <c:pt idx="43">
                        <c:v>5.1319957301481764</c:v>
                      </c:pt>
                      <c:pt idx="44">
                        <c:v>2.7896664731759984</c:v>
                      </c:pt>
                      <c:pt idx="45">
                        <c:v>2.2499889670553728</c:v>
                      </c:pt>
                      <c:pt idx="46">
                        <c:v>1.7210596523604664</c:v>
                      </c:pt>
                      <c:pt idx="47">
                        <c:v>1.9683957259697564</c:v>
                      </c:pt>
                      <c:pt idx="48">
                        <c:v>-1.028802226568132</c:v>
                      </c:pt>
                      <c:pt idx="49">
                        <c:v>0.58955088552048096</c:v>
                      </c:pt>
                      <c:pt idx="50">
                        <c:v>2.1728202036170501</c:v>
                      </c:pt>
                      <c:pt idx="51">
                        <c:v>4.1112965255161384</c:v>
                      </c:pt>
                      <c:pt idx="52">
                        <c:v>13.968554514959933</c:v>
                      </c:pt>
                      <c:pt idx="53">
                        <c:v>16.568496652304404</c:v>
                      </c:pt>
                      <c:pt idx="54">
                        <c:v>18.678165507470723</c:v>
                      </c:pt>
                      <c:pt idx="55">
                        <c:v>17.678916525575474</c:v>
                      </c:pt>
                      <c:pt idx="56">
                        <c:v>11.313859935649148</c:v>
                      </c:pt>
                      <c:pt idx="57">
                        <c:v>9.1433441750802444</c:v>
                      </c:pt>
                      <c:pt idx="58">
                        <c:v>15.760645278408433</c:v>
                      </c:pt>
                      <c:pt idx="59">
                        <c:v>49.877395275053914</c:v>
                      </c:pt>
                      <c:pt idx="60">
                        <c:v>107.4183827151173</c:v>
                      </c:pt>
                      <c:pt idx="61">
                        <c:v>241.96138065114894</c:v>
                      </c:pt>
                      <c:pt idx="62">
                        <c:v>466.33891594274246</c:v>
                      </c:pt>
                      <c:pt idx="63">
                        <c:v>360.88481754545751</c:v>
                      </c:pt>
                      <c:pt idx="64">
                        <c:v>278.07100287384787</c:v>
                      </c:pt>
                      <c:pt idx="65">
                        <c:v>201.80651496926146</c:v>
                      </c:pt>
                      <c:pt idx="66">
                        <c:v>137.47402412127121</c:v>
                      </c:pt>
                      <c:pt idx="67">
                        <c:v>114.0151817930255</c:v>
                      </c:pt>
                      <c:pt idx="68">
                        <c:v>90.330805514931711</c:v>
                      </c:pt>
                      <c:pt idx="69">
                        <c:v>77.809354548221563</c:v>
                      </c:pt>
                      <c:pt idx="70">
                        <c:v>72.379076901503481</c:v>
                      </c:pt>
                      <c:pt idx="71">
                        <c:v>60.346360274988967</c:v>
                      </c:pt>
                      <c:pt idx="72">
                        <c:v>58.280197608644016</c:v>
                      </c:pt>
                      <c:pt idx="73">
                        <c:v>48.12349823287596</c:v>
                      </c:pt>
                      <c:pt idx="74">
                        <c:v>42.837809445448983</c:v>
                      </c:pt>
                      <c:pt idx="75">
                        <c:v>43.508703649913372</c:v>
                      </c:pt>
                      <c:pt idx="76">
                        <c:v>40.830484307028627</c:v>
                      </c:pt>
                      <c:pt idx="77">
                        <c:v>41.190294896999973</c:v>
                      </c:pt>
                      <c:pt idx="78">
                        <c:v>41.653695805577257</c:v>
                      </c:pt>
                      <c:pt idx="79">
                        <c:v>40.382129989139543</c:v>
                      </c:pt>
                      <c:pt idx="80">
                        <c:v>36.827266119144923</c:v>
                      </c:pt>
                      <c:pt idx="81">
                        <c:v>31.538845267527336</c:v>
                      </c:pt>
                      <c:pt idx="82">
                        <c:v>25.285813430203604</c:v>
                      </c:pt>
                      <c:pt idx="83">
                        <c:v>20.550026333790555</c:v>
                      </c:pt>
                      <c:pt idx="84">
                        <c:v>19.32551682270298</c:v>
                      </c:pt>
                      <c:pt idx="85">
                        <c:v>15.319493440244727</c:v>
                      </c:pt>
                      <c:pt idx="86">
                        <c:v>12.769780666056121</c:v>
                      </c:pt>
                      <c:pt idx="87">
                        <c:v>9.915347632478813</c:v>
                      </c:pt>
                      <c:pt idx="88">
                        <c:v>4.1121415617998451</c:v>
                      </c:pt>
                      <c:pt idx="89">
                        <c:v>4.8200601677036445</c:v>
                      </c:pt>
                      <c:pt idx="90">
                        <c:v>4.491280789163568</c:v>
                      </c:pt>
                      <c:pt idx="91">
                        <c:v>5.1836293964487794</c:v>
                      </c:pt>
                      <c:pt idx="92">
                        <c:v>5.7069915814049921</c:v>
                      </c:pt>
                      <c:pt idx="93">
                        <c:v>6.9318698763280366</c:v>
                      </c:pt>
                      <c:pt idx="94">
                        <c:v>7.7422053482885502</c:v>
                      </c:pt>
                      <c:pt idx="95">
                        <c:v>6.7525414791105902</c:v>
                      </c:pt>
                      <c:pt idx="96">
                        <c:v>8.1224112120218166</c:v>
                      </c:pt>
                      <c:pt idx="97">
                        <c:v>7.8988125841613197</c:v>
                      </c:pt>
                      <c:pt idx="98">
                        <c:v>8.7339336565590315</c:v>
                      </c:pt>
                      <c:pt idx="99">
                        <c:v>11.944709236743691</c:v>
                      </c:pt>
                      <c:pt idx="100">
                        <c:v>13.901536512680664</c:v>
                      </c:pt>
                      <c:pt idx="101">
                        <c:v>13.75135589584491</c:v>
                      </c:pt>
                      <c:pt idx="102">
                        <c:v>12.188229605922714</c:v>
                      </c:pt>
                      <c:pt idx="103">
                        <c:v>10.763941635950886</c:v>
                      </c:pt>
                      <c:pt idx="104">
                        <c:v>7.6706930615935818</c:v>
                      </c:pt>
                      <c:pt idx="105">
                        <c:v>3.0557388938291012</c:v>
                      </c:pt>
                      <c:pt idx="106">
                        <c:v>1.0761997064750517</c:v>
                      </c:pt>
                      <c:pt idx="107">
                        <c:v>-3.3778250383863622</c:v>
                      </c:pt>
                      <c:pt idx="108">
                        <c:v>-4.0543390543439273</c:v>
                      </c:pt>
                      <c:pt idx="109">
                        <c:v>-4.6528550840566112</c:v>
                      </c:pt>
                      <c:pt idx="110">
                        <c:v>-6.7077824974067255</c:v>
                      </c:pt>
                      <c:pt idx="111">
                        <c:v>-8.8174306275465142</c:v>
                      </c:pt>
                      <c:pt idx="112">
                        <c:v>-11.292512122492624</c:v>
                      </c:pt>
                      <c:pt idx="113">
                        <c:v>-12.003511440647372</c:v>
                      </c:pt>
                      <c:pt idx="114">
                        <c:v>-13.361635055090147</c:v>
                      </c:pt>
                      <c:pt idx="115">
                        <c:v>-13.333647214827806</c:v>
                      </c:pt>
                      <c:pt idx="116">
                        <c:v>-16.471873154880342</c:v>
                      </c:pt>
                      <c:pt idx="117">
                        <c:v>-14.628653227823023</c:v>
                      </c:pt>
                      <c:pt idx="118">
                        <c:v>-13.414458721590478</c:v>
                      </c:pt>
                      <c:pt idx="119">
                        <c:v>-14.163151149117141</c:v>
                      </c:pt>
                      <c:pt idx="120">
                        <c:v>-10.777031903084094</c:v>
                      </c:pt>
                      <c:pt idx="121">
                        <c:v>-14.511948510886114</c:v>
                      </c:pt>
                      <c:pt idx="122">
                        <c:v>-18.000578472592395</c:v>
                      </c:pt>
                      <c:pt idx="123">
                        <c:v>-18.750192629471371</c:v>
                      </c:pt>
                      <c:pt idx="124">
                        <c:v>-21.086177220650796</c:v>
                      </c:pt>
                      <c:pt idx="125">
                        <c:v>-20.372326376741128</c:v>
                      </c:pt>
                      <c:pt idx="126">
                        <c:v>-17.641968984711724</c:v>
                      </c:pt>
                      <c:pt idx="127">
                        <c:v>-17.654291887973017</c:v>
                      </c:pt>
                      <c:pt idx="128">
                        <c:v>-13.727946441592579</c:v>
                      </c:pt>
                      <c:pt idx="129">
                        <c:v>-7.8872739520670478</c:v>
                      </c:pt>
                      <c:pt idx="130">
                        <c:v>-3.9648267379892275</c:v>
                      </c:pt>
                      <c:pt idx="131">
                        <c:v>2.0082505775182966</c:v>
                      </c:pt>
                      <c:pt idx="132">
                        <c:v>4.5250116573404</c:v>
                      </c:pt>
                      <c:pt idx="133">
                        <c:v>5.2648035167982528</c:v>
                      </c:pt>
                      <c:pt idx="134">
                        <c:v>7.7636163749809128</c:v>
                      </c:pt>
                      <c:pt idx="135">
                        <c:v>9.831611743340801</c:v>
                      </c:pt>
                      <c:pt idx="136">
                        <c:v>8.3154209756442441</c:v>
                      </c:pt>
                      <c:pt idx="137">
                        <c:v>4.995330246110413</c:v>
                      </c:pt>
                      <c:pt idx="138">
                        <c:v>3.3749438115994792</c:v>
                      </c:pt>
                      <c:pt idx="139">
                        <c:v>-1.1085536247238252</c:v>
                      </c:pt>
                      <c:pt idx="140">
                        <c:v>-3.275511659904339</c:v>
                      </c:pt>
                      <c:pt idx="141">
                        <c:v>-6.7912531787589359</c:v>
                      </c:pt>
                      <c:pt idx="142">
                        <c:v>-14.143534357781334</c:v>
                      </c:pt>
                      <c:pt idx="143">
                        <c:v>-17.029661052341751</c:v>
                      </c:pt>
                      <c:pt idx="144">
                        <c:v>-15.815022073838975</c:v>
                      </c:pt>
                      <c:pt idx="145">
                        <c:v>-13.754375920130016</c:v>
                      </c:pt>
                      <c:pt idx="146">
                        <c:v>-10.049601919273726</c:v>
                      </c:pt>
                      <c:pt idx="147">
                        <c:v>-6.8024853287846412</c:v>
                      </c:pt>
                      <c:pt idx="148">
                        <c:v>-6.6743620934840209</c:v>
                      </c:pt>
                      <c:pt idx="149">
                        <c:v>-0.93262506016104396</c:v>
                      </c:pt>
                      <c:pt idx="150">
                        <c:v>3.5381255673894856</c:v>
                      </c:pt>
                      <c:pt idx="151">
                        <c:v>7.3604029541131553</c:v>
                      </c:pt>
                      <c:pt idx="152">
                        <c:v>11.073599671648608</c:v>
                      </c:pt>
                      <c:pt idx="153">
                        <c:v>9.7977726817340454</c:v>
                      </c:pt>
                      <c:pt idx="154">
                        <c:v>7.3638087184540808</c:v>
                      </c:pt>
                      <c:pt idx="155">
                        <c:v>-0.11067271330512085</c:v>
                      </c:pt>
                      <c:pt idx="156">
                        <c:v>-7.3252946921383426</c:v>
                      </c:pt>
                      <c:pt idx="157">
                        <c:v>-15.441691210331285</c:v>
                      </c:pt>
                      <c:pt idx="158">
                        <c:v>-23.267694141247318</c:v>
                      </c:pt>
                      <c:pt idx="159">
                        <c:v>-24.484481311699284</c:v>
                      </c:pt>
                      <c:pt idx="160">
                        <c:v>-24.679042036988093</c:v>
                      </c:pt>
                      <c:pt idx="161">
                        <c:v>-20.140904290500856</c:v>
                      </c:pt>
                      <c:pt idx="162">
                        <c:v>-13.916863934378327</c:v>
                      </c:pt>
                      <c:pt idx="163">
                        <c:v>-7.1502353701245909</c:v>
                      </c:pt>
                      <c:pt idx="164">
                        <c:v>-1.9375958551401027</c:v>
                      </c:pt>
                      <c:pt idx="165">
                        <c:v>-2.2133370685132832</c:v>
                      </c:pt>
                      <c:pt idx="166">
                        <c:v>-2.7751008336407779</c:v>
                      </c:pt>
                      <c:pt idx="167">
                        <c:v>-4.1077675069496706</c:v>
                      </c:pt>
                      <c:pt idx="168">
                        <c:v>0.15617846201836016</c:v>
                      </c:pt>
                      <c:pt idx="169">
                        <c:v>-0.34606307641078615</c:v>
                      </c:pt>
                      <c:pt idx="170">
                        <c:v>-2.1102758793100804</c:v>
                      </c:pt>
                      <c:pt idx="171">
                        <c:v>-3.127952286787206</c:v>
                      </c:pt>
                      <c:pt idx="172">
                        <c:v>-10.220992568468006</c:v>
                      </c:pt>
                      <c:pt idx="173">
                        <c:v>-9.1210166228577947</c:v>
                      </c:pt>
                      <c:pt idx="174">
                        <c:v>-9.4722396165400511</c:v>
                      </c:pt>
                      <c:pt idx="175">
                        <c:v>-6.0485711547572123</c:v>
                      </c:pt>
                      <c:pt idx="176">
                        <c:v>-2.0489953092940851</c:v>
                      </c:pt>
                      <c:pt idx="177">
                        <c:v>-1.1834887895715411</c:v>
                      </c:pt>
                      <c:pt idx="178">
                        <c:v>1.41010547648672</c:v>
                      </c:pt>
                      <c:pt idx="179">
                        <c:v>-1.1749968649839957</c:v>
                      </c:pt>
                      <c:pt idx="180">
                        <c:v>-6.6522412866000735</c:v>
                      </c:pt>
                      <c:pt idx="181">
                        <c:v>-12.673509339103674</c:v>
                      </c:pt>
                      <c:pt idx="182">
                        <c:v>-15.71001792437464</c:v>
                      </c:pt>
                      <c:pt idx="183">
                        <c:v>-20.564332684437275</c:v>
                      </c:pt>
                      <c:pt idx="184">
                        <c:v>-19.131566924718911</c:v>
                      </c:pt>
                      <c:pt idx="185">
                        <c:v>-15.060346739940215</c:v>
                      </c:pt>
                      <c:pt idx="186">
                        <c:v>-12.812127476327007</c:v>
                      </c:pt>
                      <c:pt idx="187">
                        <c:v>-8.6453879286360547</c:v>
                      </c:pt>
                      <c:pt idx="188">
                        <c:v>-5.9838224862341747</c:v>
                      </c:pt>
                      <c:pt idx="189">
                        <c:v>-0.26139080204328025</c:v>
                      </c:pt>
                      <c:pt idx="190">
                        <c:v>4.4576869451223189</c:v>
                      </c:pt>
                      <c:pt idx="191">
                        <c:v>11.410664598419018</c:v>
                      </c:pt>
                      <c:pt idx="192">
                        <c:v>16.502639149312984</c:v>
                      </c:pt>
                      <c:pt idx="193">
                        <c:v>18.630946086545919</c:v>
                      </c:pt>
                      <c:pt idx="194">
                        <c:v>24.221804526715289</c:v>
                      </c:pt>
                      <c:pt idx="195">
                        <c:v>25.654409971064581</c:v>
                      </c:pt>
                      <c:pt idx="196">
                        <c:v>22.321406281321131</c:v>
                      </c:pt>
                      <c:pt idx="197">
                        <c:v>15.568392181190234</c:v>
                      </c:pt>
                      <c:pt idx="198">
                        <c:v>9.6270492858269137</c:v>
                      </c:pt>
                      <c:pt idx="199">
                        <c:v>6.2071518239358454</c:v>
                      </c:pt>
                      <c:pt idx="200">
                        <c:v>6.1474415624376064</c:v>
                      </c:pt>
                      <c:pt idx="201">
                        <c:v>1.7152146104291148</c:v>
                      </c:pt>
                      <c:pt idx="202">
                        <c:v>-1.6613140963065121</c:v>
                      </c:pt>
                      <c:pt idx="203">
                        <c:v>-7.6813568260241993</c:v>
                      </c:pt>
                      <c:pt idx="204">
                        <c:v>-14.122407259491482</c:v>
                      </c:pt>
                      <c:pt idx="205">
                        <c:v>-16.857282467230846</c:v>
                      </c:pt>
                      <c:pt idx="206">
                        <c:v>-16.730524276935014</c:v>
                      </c:pt>
                      <c:pt idx="207">
                        <c:v>-9.3822903038864922</c:v>
                      </c:pt>
                      <c:pt idx="208">
                        <c:v>1.0797864831682915</c:v>
                      </c:pt>
                      <c:pt idx="209">
                        <c:v>18.049870671901402</c:v>
                      </c:pt>
                      <c:pt idx="210">
                        <c:v>34.770086243129811</c:v>
                      </c:pt>
                      <c:pt idx="211">
                        <c:v>45.28808357556494</c:v>
                      </c:pt>
                      <c:pt idx="212">
                        <c:v>49.008752432218841</c:v>
                      </c:pt>
                      <c:pt idx="213">
                        <c:v>45.129041495149409</c:v>
                      </c:pt>
                      <c:pt idx="214">
                        <c:v>39.292366821418398</c:v>
                      </c:pt>
                      <c:pt idx="215">
                        <c:v>30.680394648422435</c:v>
                      </c:pt>
                      <c:pt idx="216">
                        <c:v>26.536232252757358</c:v>
                      </c:pt>
                      <c:pt idx="217">
                        <c:v>23.404906025919786</c:v>
                      </c:pt>
                      <c:pt idx="218">
                        <c:v>21.607831912929882</c:v>
                      </c:pt>
                      <c:pt idx="219">
                        <c:v>20.026581180055942</c:v>
                      </c:pt>
                      <c:pt idx="220">
                        <c:v>14.331977994466328</c:v>
                      </c:pt>
                      <c:pt idx="221">
                        <c:v>13.127905389599604</c:v>
                      </c:pt>
                      <c:pt idx="222">
                        <c:v>13.584115330146744</c:v>
                      </c:pt>
                      <c:pt idx="223">
                        <c:v>14.771471352729179</c:v>
                      </c:pt>
                      <c:pt idx="224">
                        <c:v>19.40514077600821</c:v>
                      </c:pt>
                      <c:pt idx="225">
                        <c:v>21.417859463717861</c:v>
                      </c:pt>
                      <c:pt idx="226">
                        <c:v>27.227994648443143</c:v>
                      </c:pt>
                      <c:pt idx="227">
                        <c:v>24.191493253132322</c:v>
                      </c:pt>
                      <c:pt idx="228">
                        <c:v>24.686904295489725</c:v>
                      </c:pt>
                      <c:pt idx="229">
                        <c:v>22.429408175761239</c:v>
                      </c:pt>
                      <c:pt idx="230">
                        <c:v>13.601992014612236</c:v>
                      </c:pt>
                      <c:pt idx="231">
                        <c:v>12.777984471850502</c:v>
                      </c:pt>
                      <c:pt idx="232">
                        <c:v>10.448591110594023</c:v>
                      </c:pt>
                      <c:pt idx="233">
                        <c:v>8.6510050732697721</c:v>
                      </c:pt>
                      <c:pt idx="234">
                        <c:v>6.999975618934684</c:v>
                      </c:pt>
                      <c:pt idx="235">
                        <c:v>9.8858742385567382</c:v>
                      </c:pt>
                      <c:pt idx="236">
                        <c:v>9.220008022490461</c:v>
                      </c:pt>
                      <c:pt idx="237">
                        <c:v>8.3700366162825759</c:v>
                      </c:pt>
                      <c:pt idx="238">
                        <c:v>8.5285678522598118</c:v>
                      </c:pt>
                      <c:pt idx="239">
                        <c:v>5.0284882758192708</c:v>
                      </c:pt>
                      <c:pt idx="240">
                        <c:v>4.1016350748634522</c:v>
                      </c:pt>
                      <c:pt idx="241">
                        <c:v>1.3480260452163719</c:v>
                      </c:pt>
                      <c:pt idx="242">
                        <c:v>0.716751100717687</c:v>
                      </c:pt>
                      <c:pt idx="243">
                        <c:v>1.4167254531250819</c:v>
                      </c:pt>
                      <c:pt idx="244">
                        <c:v>0.50490804150015833</c:v>
                      </c:pt>
                      <c:pt idx="245">
                        <c:v>1.8032610700164327</c:v>
                      </c:pt>
                      <c:pt idx="246">
                        <c:v>2.4965188835966075</c:v>
                      </c:pt>
                      <c:pt idx="247">
                        <c:v>0.42570932322331601</c:v>
                      </c:pt>
                      <c:pt idx="248">
                        <c:v>-0.4896198539121599</c:v>
                      </c:pt>
                      <c:pt idx="249">
                        <c:v>0.10018219163545439</c:v>
                      </c:pt>
                      <c:pt idx="250">
                        <c:v>-2.9006296635046169E-2</c:v>
                      </c:pt>
                      <c:pt idx="251">
                        <c:v>0.45242722932736967</c:v>
                      </c:pt>
                      <c:pt idx="252">
                        <c:v>0.21387873731400475</c:v>
                      </c:pt>
                      <c:pt idx="253">
                        <c:v>-0.47943638549307366</c:v>
                      </c:pt>
                      <c:pt idx="254">
                        <c:v>-1.0515515094440531</c:v>
                      </c:pt>
                      <c:pt idx="255">
                        <c:v>0.47131184585342112</c:v>
                      </c:pt>
                      <c:pt idx="256">
                        <c:v>4.6207761857358491</c:v>
                      </c:pt>
                      <c:pt idx="257">
                        <c:v>8.0935510016812771</c:v>
                      </c:pt>
                      <c:pt idx="258">
                        <c:v>10.231336912607176</c:v>
                      </c:pt>
                      <c:pt idx="259">
                        <c:v>9.6527084684906441</c:v>
                      </c:pt>
                      <c:pt idx="260">
                        <c:v>8.518711980429174</c:v>
                      </c:pt>
                      <c:pt idx="261">
                        <c:v>5.0200781725891659</c:v>
                      </c:pt>
                      <c:pt idx="262">
                        <c:v>2.8249758550084039</c:v>
                      </c:pt>
                      <c:pt idx="263">
                        <c:v>0.6349300616670206</c:v>
                      </c:pt>
                      <c:pt idx="264">
                        <c:v>-1.3752254358142579</c:v>
                      </c:pt>
                      <c:pt idx="265">
                        <c:v>-0.2725797979805975</c:v>
                      </c:pt>
                      <c:pt idx="266">
                        <c:v>1.0093295874955714</c:v>
                      </c:pt>
                      <c:pt idx="267">
                        <c:v>2.4603879523497056</c:v>
                      </c:pt>
                      <c:pt idx="268">
                        <c:v>2.8894597130115613</c:v>
                      </c:pt>
                      <c:pt idx="269">
                        <c:v>4.0992949982581592</c:v>
                      </c:pt>
                      <c:pt idx="270">
                        <c:v>5.7746115776652402</c:v>
                      </c:pt>
                      <c:pt idx="271">
                        <c:v>7.133446823726203</c:v>
                      </c:pt>
                      <c:pt idx="272">
                        <c:v>8.194093239621651</c:v>
                      </c:pt>
                      <c:pt idx="273">
                        <c:v>7.9085392931210805</c:v>
                      </c:pt>
                      <c:pt idx="274">
                        <c:v>8.7143752762292195</c:v>
                      </c:pt>
                      <c:pt idx="275">
                        <c:v>10.197019873930756</c:v>
                      </c:pt>
                      <c:pt idx="276">
                        <c:v>13.028908269448266</c:v>
                      </c:pt>
                      <c:pt idx="277">
                        <c:v>15.486267709682423</c:v>
                      </c:pt>
                      <c:pt idx="278">
                        <c:v>14.816258860375854</c:v>
                      </c:pt>
                      <c:pt idx="279">
                        <c:v>16.03013773917948</c:v>
                      </c:pt>
                      <c:pt idx="280">
                        <c:v>16.523677580496624</c:v>
                      </c:pt>
                      <c:pt idx="281">
                        <c:v>15.992995093404033</c:v>
                      </c:pt>
                      <c:pt idx="282">
                        <c:v>17.937635445622391</c:v>
                      </c:pt>
                      <c:pt idx="283">
                        <c:v>19.611475728547575</c:v>
                      </c:pt>
                      <c:pt idx="284">
                        <c:v>18.716598625656601</c:v>
                      </c:pt>
                      <c:pt idx="285">
                        <c:v>18.635707090275133</c:v>
                      </c:pt>
                      <c:pt idx="286">
                        <c:v>17.46904910486758</c:v>
                      </c:pt>
                      <c:pt idx="287">
                        <c:v>14.481472602887834</c:v>
                      </c:pt>
                      <c:pt idx="288">
                        <c:v>14.571165682110006</c:v>
                      </c:pt>
                      <c:pt idx="289">
                        <c:v>16.055323627781348</c:v>
                      </c:pt>
                      <c:pt idx="290">
                        <c:v>19.027613369299829</c:v>
                      </c:pt>
                      <c:pt idx="291">
                        <c:v>22.36090407240448</c:v>
                      </c:pt>
                      <c:pt idx="292">
                        <c:v>23.302414143960164</c:v>
                      </c:pt>
                      <c:pt idx="293">
                        <c:v>21.178817166175222</c:v>
                      </c:pt>
                      <c:pt idx="294">
                        <c:v>13.27172771148706</c:v>
                      </c:pt>
                      <c:pt idx="295">
                        <c:v>8.4241091591845247</c:v>
                      </c:pt>
                      <c:pt idx="296">
                        <c:v>3.8589856692998552</c:v>
                      </c:pt>
                      <c:pt idx="297">
                        <c:v>2.3534103725377093</c:v>
                      </c:pt>
                      <c:pt idx="298">
                        <c:v>6.3632954525366472</c:v>
                      </c:pt>
                      <c:pt idx="299">
                        <c:v>9.9456073514959229</c:v>
                      </c:pt>
                      <c:pt idx="300">
                        <c:v>16.973111777356479</c:v>
                      </c:pt>
                      <c:pt idx="301">
                        <c:v>23.32755779045543</c:v>
                      </c:pt>
                      <c:pt idx="302">
                        <c:v>24.854925912363584</c:v>
                      </c:pt>
                      <c:pt idx="303">
                        <c:v>23.754785105594834</c:v>
                      </c:pt>
                      <c:pt idx="304">
                        <c:v>20.510435043276544</c:v>
                      </c:pt>
                    </c:numCache>
                  </c:numRef>
                </c:val>
                <c:smooth val="1"/>
                <c:extLst xmlns:c16r2="http://schemas.microsoft.com/office/drawing/2015/06/chart">
                  <c:ext xmlns:c16="http://schemas.microsoft.com/office/drawing/2014/chart" uri="{C3380CC4-5D6E-409C-BE32-E72D297353CC}">
                    <c16:uniqueId val="{00000004-A15F-4465-BB40-C6A6CC259C8C}"/>
                  </c:ext>
                </c:extLst>
              </c15:ser>
            </c15:filteredLineSeries>
            <c15:filteredLineSeries>
              <c15:ser>
                <c:idx val="1"/>
                <c:order val="2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指数合成-1.0'!$DF$8</c15:sqref>
                        </c15:formulaRef>
                      </c:ext>
                    </c:extLst>
                    <c:strCache>
                      <c:ptCount val="1"/>
                      <c:pt idx="0">
                        <c:v>广义流通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指数合成-1.0'!$DC$67:$DC$371</c15:sqref>
                        </c15:formulaRef>
                      </c:ext>
                    </c:extLst>
                    <c:numCache>
                      <c:formatCode>yyyy\-mm\-dd</c:formatCode>
                      <c:ptCount val="305"/>
                      <c:pt idx="0">
                        <c:v>43875</c:v>
                      </c:pt>
                      <c:pt idx="1">
                        <c:v>43882</c:v>
                      </c:pt>
                      <c:pt idx="2">
                        <c:v>43889</c:v>
                      </c:pt>
                      <c:pt idx="3">
                        <c:v>43896</c:v>
                      </c:pt>
                      <c:pt idx="4">
                        <c:v>43903</c:v>
                      </c:pt>
                      <c:pt idx="5">
                        <c:v>43910</c:v>
                      </c:pt>
                      <c:pt idx="6">
                        <c:v>43917</c:v>
                      </c:pt>
                      <c:pt idx="7">
                        <c:v>43924</c:v>
                      </c:pt>
                      <c:pt idx="8">
                        <c:v>43931</c:v>
                      </c:pt>
                      <c:pt idx="9">
                        <c:v>43938</c:v>
                      </c:pt>
                      <c:pt idx="10">
                        <c:v>43945</c:v>
                      </c:pt>
                      <c:pt idx="11">
                        <c:v>43952</c:v>
                      </c:pt>
                      <c:pt idx="12">
                        <c:v>43959</c:v>
                      </c:pt>
                      <c:pt idx="13">
                        <c:v>43966</c:v>
                      </c:pt>
                      <c:pt idx="14">
                        <c:v>43973</c:v>
                      </c:pt>
                      <c:pt idx="15">
                        <c:v>43980</c:v>
                      </c:pt>
                      <c:pt idx="16">
                        <c:v>43987</c:v>
                      </c:pt>
                      <c:pt idx="17">
                        <c:v>43994</c:v>
                      </c:pt>
                      <c:pt idx="18">
                        <c:v>44001</c:v>
                      </c:pt>
                      <c:pt idx="19">
                        <c:v>44008</c:v>
                      </c:pt>
                      <c:pt idx="20">
                        <c:v>44015</c:v>
                      </c:pt>
                      <c:pt idx="21">
                        <c:v>44022</c:v>
                      </c:pt>
                      <c:pt idx="22">
                        <c:v>44029</c:v>
                      </c:pt>
                      <c:pt idx="23">
                        <c:v>44036</c:v>
                      </c:pt>
                      <c:pt idx="24">
                        <c:v>44043</c:v>
                      </c:pt>
                      <c:pt idx="25">
                        <c:v>44050</c:v>
                      </c:pt>
                      <c:pt idx="26">
                        <c:v>44057</c:v>
                      </c:pt>
                      <c:pt idx="27">
                        <c:v>44064</c:v>
                      </c:pt>
                      <c:pt idx="28">
                        <c:v>44071</c:v>
                      </c:pt>
                      <c:pt idx="29">
                        <c:v>44078</c:v>
                      </c:pt>
                      <c:pt idx="30">
                        <c:v>44085</c:v>
                      </c:pt>
                      <c:pt idx="31">
                        <c:v>44092</c:v>
                      </c:pt>
                      <c:pt idx="32">
                        <c:v>44099</c:v>
                      </c:pt>
                      <c:pt idx="33">
                        <c:v>44106</c:v>
                      </c:pt>
                      <c:pt idx="34">
                        <c:v>44113</c:v>
                      </c:pt>
                      <c:pt idx="35">
                        <c:v>44120</c:v>
                      </c:pt>
                      <c:pt idx="36">
                        <c:v>44127</c:v>
                      </c:pt>
                      <c:pt idx="37">
                        <c:v>44134</c:v>
                      </c:pt>
                      <c:pt idx="38">
                        <c:v>44141</c:v>
                      </c:pt>
                      <c:pt idx="39">
                        <c:v>44148</c:v>
                      </c:pt>
                      <c:pt idx="40">
                        <c:v>44155</c:v>
                      </c:pt>
                      <c:pt idx="41">
                        <c:v>44162</c:v>
                      </c:pt>
                      <c:pt idx="42">
                        <c:v>44169</c:v>
                      </c:pt>
                      <c:pt idx="43">
                        <c:v>44176</c:v>
                      </c:pt>
                      <c:pt idx="44">
                        <c:v>44183</c:v>
                      </c:pt>
                      <c:pt idx="45">
                        <c:v>44190</c:v>
                      </c:pt>
                      <c:pt idx="46">
                        <c:v>44197</c:v>
                      </c:pt>
                      <c:pt idx="47">
                        <c:v>44204</c:v>
                      </c:pt>
                      <c:pt idx="48">
                        <c:v>44211</c:v>
                      </c:pt>
                      <c:pt idx="49">
                        <c:v>44218</c:v>
                      </c:pt>
                      <c:pt idx="50">
                        <c:v>44225</c:v>
                      </c:pt>
                      <c:pt idx="51">
                        <c:v>44232</c:v>
                      </c:pt>
                      <c:pt idx="52">
                        <c:v>44239</c:v>
                      </c:pt>
                      <c:pt idx="53">
                        <c:v>44246</c:v>
                      </c:pt>
                      <c:pt idx="54">
                        <c:v>44253</c:v>
                      </c:pt>
                      <c:pt idx="55">
                        <c:v>44260</c:v>
                      </c:pt>
                      <c:pt idx="56">
                        <c:v>44267</c:v>
                      </c:pt>
                      <c:pt idx="57">
                        <c:v>44274</c:v>
                      </c:pt>
                      <c:pt idx="58">
                        <c:v>44281</c:v>
                      </c:pt>
                      <c:pt idx="59">
                        <c:v>44288</c:v>
                      </c:pt>
                      <c:pt idx="60">
                        <c:v>44295</c:v>
                      </c:pt>
                      <c:pt idx="61">
                        <c:v>44302</c:v>
                      </c:pt>
                      <c:pt idx="62">
                        <c:v>44309</c:v>
                      </c:pt>
                      <c:pt idx="63">
                        <c:v>44316</c:v>
                      </c:pt>
                      <c:pt idx="64">
                        <c:v>44323</c:v>
                      </c:pt>
                      <c:pt idx="65">
                        <c:v>44330</c:v>
                      </c:pt>
                      <c:pt idx="66">
                        <c:v>44337</c:v>
                      </c:pt>
                      <c:pt idx="67">
                        <c:v>44344</c:v>
                      </c:pt>
                      <c:pt idx="68">
                        <c:v>44351</c:v>
                      </c:pt>
                      <c:pt idx="69">
                        <c:v>44358</c:v>
                      </c:pt>
                      <c:pt idx="70">
                        <c:v>44365</c:v>
                      </c:pt>
                      <c:pt idx="71">
                        <c:v>44372</c:v>
                      </c:pt>
                      <c:pt idx="72">
                        <c:v>44379</c:v>
                      </c:pt>
                      <c:pt idx="73">
                        <c:v>44386</c:v>
                      </c:pt>
                      <c:pt idx="74">
                        <c:v>44393</c:v>
                      </c:pt>
                      <c:pt idx="75">
                        <c:v>44400</c:v>
                      </c:pt>
                      <c:pt idx="76">
                        <c:v>44407</c:v>
                      </c:pt>
                      <c:pt idx="77">
                        <c:v>44414</c:v>
                      </c:pt>
                      <c:pt idx="78">
                        <c:v>44421</c:v>
                      </c:pt>
                      <c:pt idx="79">
                        <c:v>44428</c:v>
                      </c:pt>
                      <c:pt idx="80">
                        <c:v>44435</c:v>
                      </c:pt>
                      <c:pt idx="81">
                        <c:v>44442</c:v>
                      </c:pt>
                      <c:pt idx="82">
                        <c:v>44449</c:v>
                      </c:pt>
                      <c:pt idx="83">
                        <c:v>44456</c:v>
                      </c:pt>
                      <c:pt idx="84">
                        <c:v>44463</c:v>
                      </c:pt>
                      <c:pt idx="85">
                        <c:v>44470</c:v>
                      </c:pt>
                      <c:pt idx="86">
                        <c:v>44477</c:v>
                      </c:pt>
                      <c:pt idx="87">
                        <c:v>44484</c:v>
                      </c:pt>
                      <c:pt idx="88">
                        <c:v>44491</c:v>
                      </c:pt>
                      <c:pt idx="89">
                        <c:v>44498</c:v>
                      </c:pt>
                      <c:pt idx="90">
                        <c:v>44505</c:v>
                      </c:pt>
                      <c:pt idx="91">
                        <c:v>44512</c:v>
                      </c:pt>
                      <c:pt idx="92">
                        <c:v>44519</c:v>
                      </c:pt>
                      <c:pt idx="93">
                        <c:v>44526</c:v>
                      </c:pt>
                      <c:pt idx="94">
                        <c:v>44533</c:v>
                      </c:pt>
                      <c:pt idx="95">
                        <c:v>44540</c:v>
                      </c:pt>
                      <c:pt idx="96">
                        <c:v>44547</c:v>
                      </c:pt>
                      <c:pt idx="97">
                        <c:v>44554</c:v>
                      </c:pt>
                      <c:pt idx="98">
                        <c:v>44561</c:v>
                      </c:pt>
                      <c:pt idx="99">
                        <c:v>44568</c:v>
                      </c:pt>
                      <c:pt idx="100">
                        <c:v>44575</c:v>
                      </c:pt>
                      <c:pt idx="101">
                        <c:v>44582</c:v>
                      </c:pt>
                      <c:pt idx="102">
                        <c:v>44589</c:v>
                      </c:pt>
                      <c:pt idx="103">
                        <c:v>44596</c:v>
                      </c:pt>
                      <c:pt idx="104">
                        <c:v>44603</c:v>
                      </c:pt>
                      <c:pt idx="105">
                        <c:v>44610</c:v>
                      </c:pt>
                      <c:pt idx="106">
                        <c:v>44617</c:v>
                      </c:pt>
                      <c:pt idx="107">
                        <c:v>44624</c:v>
                      </c:pt>
                      <c:pt idx="108">
                        <c:v>44631</c:v>
                      </c:pt>
                      <c:pt idx="109">
                        <c:v>44638</c:v>
                      </c:pt>
                      <c:pt idx="110">
                        <c:v>44645</c:v>
                      </c:pt>
                      <c:pt idx="111">
                        <c:v>44652</c:v>
                      </c:pt>
                      <c:pt idx="112">
                        <c:v>44659</c:v>
                      </c:pt>
                      <c:pt idx="113">
                        <c:v>44666</c:v>
                      </c:pt>
                      <c:pt idx="114">
                        <c:v>44673</c:v>
                      </c:pt>
                      <c:pt idx="115">
                        <c:v>44680</c:v>
                      </c:pt>
                      <c:pt idx="116">
                        <c:v>44687</c:v>
                      </c:pt>
                      <c:pt idx="117">
                        <c:v>44694</c:v>
                      </c:pt>
                      <c:pt idx="118">
                        <c:v>44701</c:v>
                      </c:pt>
                      <c:pt idx="119">
                        <c:v>44708</c:v>
                      </c:pt>
                      <c:pt idx="120">
                        <c:v>44715</c:v>
                      </c:pt>
                      <c:pt idx="121">
                        <c:v>44722</c:v>
                      </c:pt>
                      <c:pt idx="122">
                        <c:v>44729</c:v>
                      </c:pt>
                      <c:pt idx="123">
                        <c:v>44736</c:v>
                      </c:pt>
                      <c:pt idx="124">
                        <c:v>44743</c:v>
                      </c:pt>
                      <c:pt idx="125">
                        <c:v>44750</c:v>
                      </c:pt>
                      <c:pt idx="126">
                        <c:v>44757</c:v>
                      </c:pt>
                      <c:pt idx="127">
                        <c:v>44764</c:v>
                      </c:pt>
                      <c:pt idx="128">
                        <c:v>44771</c:v>
                      </c:pt>
                      <c:pt idx="129">
                        <c:v>44778</c:v>
                      </c:pt>
                      <c:pt idx="130">
                        <c:v>44785</c:v>
                      </c:pt>
                      <c:pt idx="131">
                        <c:v>44792</c:v>
                      </c:pt>
                      <c:pt idx="132">
                        <c:v>44799</c:v>
                      </c:pt>
                      <c:pt idx="133">
                        <c:v>44806</c:v>
                      </c:pt>
                      <c:pt idx="134">
                        <c:v>44813</c:v>
                      </c:pt>
                      <c:pt idx="135">
                        <c:v>44820</c:v>
                      </c:pt>
                      <c:pt idx="136">
                        <c:v>44827</c:v>
                      </c:pt>
                      <c:pt idx="137">
                        <c:v>44834</c:v>
                      </c:pt>
                      <c:pt idx="138">
                        <c:v>44841</c:v>
                      </c:pt>
                      <c:pt idx="139">
                        <c:v>44848</c:v>
                      </c:pt>
                      <c:pt idx="140">
                        <c:v>44855</c:v>
                      </c:pt>
                      <c:pt idx="141">
                        <c:v>44862</c:v>
                      </c:pt>
                      <c:pt idx="142">
                        <c:v>44869</c:v>
                      </c:pt>
                      <c:pt idx="143">
                        <c:v>44876</c:v>
                      </c:pt>
                      <c:pt idx="144">
                        <c:v>44883</c:v>
                      </c:pt>
                      <c:pt idx="145">
                        <c:v>44890</c:v>
                      </c:pt>
                      <c:pt idx="146">
                        <c:v>44897</c:v>
                      </c:pt>
                      <c:pt idx="147">
                        <c:v>44904</c:v>
                      </c:pt>
                      <c:pt idx="148">
                        <c:v>44911</c:v>
                      </c:pt>
                      <c:pt idx="149">
                        <c:v>44918</c:v>
                      </c:pt>
                      <c:pt idx="150">
                        <c:v>44925</c:v>
                      </c:pt>
                      <c:pt idx="151">
                        <c:v>44932</c:v>
                      </c:pt>
                      <c:pt idx="152">
                        <c:v>44939</c:v>
                      </c:pt>
                      <c:pt idx="153">
                        <c:v>44946</c:v>
                      </c:pt>
                      <c:pt idx="154">
                        <c:v>44953</c:v>
                      </c:pt>
                      <c:pt idx="155">
                        <c:v>44960</c:v>
                      </c:pt>
                      <c:pt idx="156">
                        <c:v>44967</c:v>
                      </c:pt>
                      <c:pt idx="157">
                        <c:v>44974</c:v>
                      </c:pt>
                      <c:pt idx="158">
                        <c:v>44981</c:v>
                      </c:pt>
                      <c:pt idx="159">
                        <c:v>44988</c:v>
                      </c:pt>
                      <c:pt idx="160">
                        <c:v>44995</c:v>
                      </c:pt>
                      <c:pt idx="161">
                        <c:v>45002</c:v>
                      </c:pt>
                      <c:pt idx="162">
                        <c:v>45009</c:v>
                      </c:pt>
                      <c:pt idx="163">
                        <c:v>45016</c:v>
                      </c:pt>
                      <c:pt idx="164">
                        <c:v>45023</c:v>
                      </c:pt>
                      <c:pt idx="165">
                        <c:v>45030</c:v>
                      </c:pt>
                      <c:pt idx="166">
                        <c:v>45037</c:v>
                      </c:pt>
                      <c:pt idx="167">
                        <c:v>45044</c:v>
                      </c:pt>
                      <c:pt idx="168">
                        <c:v>45051</c:v>
                      </c:pt>
                      <c:pt idx="169">
                        <c:v>45058</c:v>
                      </c:pt>
                      <c:pt idx="170">
                        <c:v>45065</c:v>
                      </c:pt>
                      <c:pt idx="171">
                        <c:v>45072</c:v>
                      </c:pt>
                      <c:pt idx="172">
                        <c:v>45079</c:v>
                      </c:pt>
                      <c:pt idx="173">
                        <c:v>45086</c:v>
                      </c:pt>
                      <c:pt idx="174">
                        <c:v>45093</c:v>
                      </c:pt>
                      <c:pt idx="175">
                        <c:v>45100</c:v>
                      </c:pt>
                      <c:pt idx="176">
                        <c:v>45107</c:v>
                      </c:pt>
                      <c:pt idx="177">
                        <c:v>45114</c:v>
                      </c:pt>
                      <c:pt idx="178">
                        <c:v>45121</c:v>
                      </c:pt>
                      <c:pt idx="179">
                        <c:v>45128</c:v>
                      </c:pt>
                      <c:pt idx="180">
                        <c:v>45135</c:v>
                      </c:pt>
                      <c:pt idx="181">
                        <c:v>45142</c:v>
                      </c:pt>
                      <c:pt idx="182">
                        <c:v>45149</c:v>
                      </c:pt>
                      <c:pt idx="183">
                        <c:v>45156</c:v>
                      </c:pt>
                      <c:pt idx="184">
                        <c:v>45163</c:v>
                      </c:pt>
                      <c:pt idx="185">
                        <c:v>45170</c:v>
                      </c:pt>
                      <c:pt idx="186">
                        <c:v>45177</c:v>
                      </c:pt>
                      <c:pt idx="187">
                        <c:v>45184</c:v>
                      </c:pt>
                      <c:pt idx="188">
                        <c:v>45191</c:v>
                      </c:pt>
                      <c:pt idx="189">
                        <c:v>45198</c:v>
                      </c:pt>
                      <c:pt idx="190">
                        <c:v>45205</c:v>
                      </c:pt>
                      <c:pt idx="191">
                        <c:v>45212</c:v>
                      </c:pt>
                      <c:pt idx="192">
                        <c:v>45219</c:v>
                      </c:pt>
                      <c:pt idx="193">
                        <c:v>45226</c:v>
                      </c:pt>
                      <c:pt idx="194">
                        <c:v>45233</c:v>
                      </c:pt>
                      <c:pt idx="195">
                        <c:v>45240</c:v>
                      </c:pt>
                      <c:pt idx="196">
                        <c:v>45247</c:v>
                      </c:pt>
                      <c:pt idx="197">
                        <c:v>45254</c:v>
                      </c:pt>
                      <c:pt idx="198">
                        <c:v>45261</c:v>
                      </c:pt>
                      <c:pt idx="199">
                        <c:v>45268</c:v>
                      </c:pt>
                      <c:pt idx="200">
                        <c:v>45275</c:v>
                      </c:pt>
                      <c:pt idx="201">
                        <c:v>45282</c:v>
                      </c:pt>
                      <c:pt idx="202">
                        <c:v>45289</c:v>
                      </c:pt>
                      <c:pt idx="203">
                        <c:v>45296</c:v>
                      </c:pt>
                      <c:pt idx="204">
                        <c:v>45303</c:v>
                      </c:pt>
                      <c:pt idx="205">
                        <c:v>45310</c:v>
                      </c:pt>
                      <c:pt idx="206">
                        <c:v>45317</c:v>
                      </c:pt>
                      <c:pt idx="207">
                        <c:v>45324</c:v>
                      </c:pt>
                      <c:pt idx="208">
                        <c:v>45331</c:v>
                      </c:pt>
                      <c:pt idx="209">
                        <c:v>45338</c:v>
                      </c:pt>
                      <c:pt idx="210">
                        <c:v>45345</c:v>
                      </c:pt>
                      <c:pt idx="211">
                        <c:v>45352</c:v>
                      </c:pt>
                      <c:pt idx="212">
                        <c:v>45359</c:v>
                      </c:pt>
                      <c:pt idx="213">
                        <c:v>45366</c:v>
                      </c:pt>
                      <c:pt idx="214">
                        <c:v>45373</c:v>
                      </c:pt>
                      <c:pt idx="215">
                        <c:v>45380</c:v>
                      </c:pt>
                      <c:pt idx="216">
                        <c:v>45387</c:v>
                      </c:pt>
                      <c:pt idx="217">
                        <c:v>45394</c:v>
                      </c:pt>
                      <c:pt idx="218">
                        <c:v>45401</c:v>
                      </c:pt>
                      <c:pt idx="219">
                        <c:v>45408</c:v>
                      </c:pt>
                      <c:pt idx="220">
                        <c:v>45415</c:v>
                      </c:pt>
                      <c:pt idx="221">
                        <c:v>45422</c:v>
                      </c:pt>
                      <c:pt idx="222">
                        <c:v>45429</c:v>
                      </c:pt>
                      <c:pt idx="223">
                        <c:v>45436</c:v>
                      </c:pt>
                      <c:pt idx="224">
                        <c:v>45443</c:v>
                      </c:pt>
                      <c:pt idx="225">
                        <c:v>45450</c:v>
                      </c:pt>
                      <c:pt idx="226">
                        <c:v>45457</c:v>
                      </c:pt>
                      <c:pt idx="227">
                        <c:v>45464</c:v>
                      </c:pt>
                      <c:pt idx="228">
                        <c:v>45471</c:v>
                      </c:pt>
                      <c:pt idx="229">
                        <c:v>45478</c:v>
                      </c:pt>
                      <c:pt idx="230">
                        <c:v>45485</c:v>
                      </c:pt>
                      <c:pt idx="231">
                        <c:v>45492</c:v>
                      </c:pt>
                      <c:pt idx="232">
                        <c:v>45499</c:v>
                      </c:pt>
                      <c:pt idx="233">
                        <c:v>45506</c:v>
                      </c:pt>
                      <c:pt idx="234">
                        <c:v>45513</c:v>
                      </c:pt>
                      <c:pt idx="235">
                        <c:v>45520</c:v>
                      </c:pt>
                      <c:pt idx="236">
                        <c:v>45527</c:v>
                      </c:pt>
                      <c:pt idx="237">
                        <c:v>45534</c:v>
                      </c:pt>
                      <c:pt idx="238">
                        <c:v>45541</c:v>
                      </c:pt>
                      <c:pt idx="239">
                        <c:v>45548</c:v>
                      </c:pt>
                      <c:pt idx="240">
                        <c:v>45555</c:v>
                      </c:pt>
                      <c:pt idx="241">
                        <c:v>45562</c:v>
                      </c:pt>
                      <c:pt idx="242">
                        <c:v>45569</c:v>
                      </c:pt>
                      <c:pt idx="243">
                        <c:v>45576</c:v>
                      </c:pt>
                      <c:pt idx="244">
                        <c:v>45583</c:v>
                      </c:pt>
                      <c:pt idx="245">
                        <c:v>45590</c:v>
                      </c:pt>
                      <c:pt idx="246">
                        <c:v>45597</c:v>
                      </c:pt>
                      <c:pt idx="247">
                        <c:v>45604</c:v>
                      </c:pt>
                      <c:pt idx="248">
                        <c:v>45611</c:v>
                      </c:pt>
                      <c:pt idx="249">
                        <c:v>45618</c:v>
                      </c:pt>
                      <c:pt idx="250">
                        <c:v>45625</c:v>
                      </c:pt>
                      <c:pt idx="251">
                        <c:v>45632</c:v>
                      </c:pt>
                      <c:pt idx="252">
                        <c:v>45639</c:v>
                      </c:pt>
                      <c:pt idx="253">
                        <c:v>45646</c:v>
                      </c:pt>
                      <c:pt idx="254">
                        <c:v>45653</c:v>
                      </c:pt>
                      <c:pt idx="255">
                        <c:v>45660</c:v>
                      </c:pt>
                      <c:pt idx="256">
                        <c:v>45667</c:v>
                      </c:pt>
                      <c:pt idx="257">
                        <c:v>45674</c:v>
                      </c:pt>
                      <c:pt idx="258">
                        <c:v>45681</c:v>
                      </c:pt>
                      <c:pt idx="259">
                        <c:v>45688</c:v>
                      </c:pt>
                      <c:pt idx="260">
                        <c:v>45695</c:v>
                      </c:pt>
                      <c:pt idx="261">
                        <c:v>45702</c:v>
                      </c:pt>
                      <c:pt idx="262">
                        <c:v>45709</c:v>
                      </c:pt>
                      <c:pt idx="263">
                        <c:v>45716</c:v>
                      </c:pt>
                      <c:pt idx="264">
                        <c:v>45723</c:v>
                      </c:pt>
                      <c:pt idx="265">
                        <c:v>45730</c:v>
                      </c:pt>
                      <c:pt idx="266">
                        <c:v>45737</c:v>
                      </c:pt>
                      <c:pt idx="267">
                        <c:v>45744</c:v>
                      </c:pt>
                      <c:pt idx="268">
                        <c:v>45751</c:v>
                      </c:pt>
                      <c:pt idx="269">
                        <c:v>45758</c:v>
                      </c:pt>
                      <c:pt idx="270">
                        <c:v>45765</c:v>
                      </c:pt>
                      <c:pt idx="271">
                        <c:v>45772</c:v>
                      </c:pt>
                      <c:pt idx="272">
                        <c:v>45779</c:v>
                      </c:pt>
                      <c:pt idx="273">
                        <c:v>45786</c:v>
                      </c:pt>
                      <c:pt idx="274">
                        <c:v>45793</c:v>
                      </c:pt>
                      <c:pt idx="275">
                        <c:v>45800</c:v>
                      </c:pt>
                      <c:pt idx="276">
                        <c:v>45807</c:v>
                      </c:pt>
                      <c:pt idx="277">
                        <c:v>45814</c:v>
                      </c:pt>
                      <c:pt idx="278">
                        <c:v>45821</c:v>
                      </c:pt>
                      <c:pt idx="279">
                        <c:v>45828</c:v>
                      </c:pt>
                      <c:pt idx="280">
                        <c:v>45835</c:v>
                      </c:pt>
                      <c:pt idx="281">
                        <c:v>45842</c:v>
                      </c:pt>
                      <c:pt idx="282">
                        <c:v>45849</c:v>
                      </c:pt>
                      <c:pt idx="283">
                        <c:v>45856</c:v>
                      </c:pt>
                      <c:pt idx="284">
                        <c:v>45863</c:v>
                      </c:pt>
                      <c:pt idx="285">
                        <c:v>45870</c:v>
                      </c:pt>
                      <c:pt idx="286">
                        <c:v>45877</c:v>
                      </c:pt>
                      <c:pt idx="287">
                        <c:v>45884</c:v>
                      </c:pt>
                      <c:pt idx="288">
                        <c:v>45891</c:v>
                      </c:pt>
                      <c:pt idx="289">
                        <c:v>45898</c:v>
                      </c:pt>
                      <c:pt idx="290">
                        <c:v>45905</c:v>
                      </c:pt>
                      <c:pt idx="291">
                        <c:v>45912</c:v>
                      </c:pt>
                      <c:pt idx="292">
                        <c:v>45919</c:v>
                      </c:pt>
                      <c:pt idx="293">
                        <c:v>45926</c:v>
                      </c:pt>
                      <c:pt idx="294">
                        <c:v>45933</c:v>
                      </c:pt>
                      <c:pt idx="295">
                        <c:v>45940</c:v>
                      </c:pt>
                      <c:pt idx="296">
                        <c:v>45947</c:v>
                      </c:pt>
                      <c:pt idx="297">
                        <c:v>45954</c:v>
                      </c:pt>
                      <c:pt idx="298">
                        <c:v>45961</c:v>
                      </c:pt>
                      <c:pt idx="299">
                        <c:v>45968</c:v>
                      </c:pt>
                      <c:pt idx="300">
                        <c:v>45975</c:v>
                      </c:pt>
                      <c:pt idx="301">
                        <c:v>45982</c:v>
                      </c:pt>
                      <c:pt idx="302">
                        <c:v>45989</c:v>
                      </c:pt>
                      <c:pt idx="303">
                        <c:v>45996</c:v>
                      </c:pt>
                      <c:pt idx="304">
                        <c:v>46003</c:v>
                      </c:pt>
                    </c:numCache>
                  </c:num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指数合成-1.0'!$DF$67:$DF$371</c15:sqref>
                        </c15:formulaRef>
                      </c:ext>
                    </c:extLst>
                    <c:numCache>
                      <c:formatCode>0.0</c:formatCode>
                      <c:ptCount val="305"/>
                      <c:pt idx="0">
                        <c:v>-54.710774991001259</c:v>
                      </c:pt>
                      <c:pt idx="1">
                        <c:v>-74.661192673617492</c:v>
                      </c:pt>
                      <c:pt idx="2">
                        <c:v>-80.490281718454796</c:v>
                      </c:pt>
                      <c:pt idx="3">
                        <c:v>-79.787915028283493</c:v>
                      </c:pt>
                      <c:pt idx="4">
                        <c:v>-70.777669620234875</c:v>
                      </c:pt>
                      <c:pt idx="5">
                        <c:v>-57.44719074340928</c:v>
                      </c:pt>
                      <c:pt idx="6">
                        <c:v>-41.970805279542724</c:v>
                      </c:pt>
                      <c:pt idx="7">
                        <c:v>-26.421825786579149</c:v>
                      </c:pt>
                      <c:pt idx="8">
                        <c:v>-14.592332072028569</c:v>
                      </c:pt>
                      <c:pt idx="9">
                        <c:v>-4.5328502509920128</c:v>
                      </c:pt>
                      <c:pt idx="10">
                        <c:v>2.9683056745094092</c:v>
                      </c:pt>
                      <c:pt idx="11">
                        <c:v>11.212017530215263</c:v>
                      </c:pt>
                      <c:pt idx="12">
                        <c:v>14.831954509822907</c:v>
                      </c:pt>
                      <c:pt idx="13">
                        <c:v>21.097583295520181</c:v>
                      </c:pt>
                      <c:pt idx="14">
                        <c:v>27.134654849615998</c:v>
                      </c:pt>
                      <c:pt idx="15">
                        <c:v>28.085642971974636</c:v>
                      </c:pt>
                      <c:pt idx="16">
                        <c:v>34.848940206217605</c:v>
                      </c:pt>
                      <c:pt idx="17">
                        <c:v>37.317756338839587</c:v>
                      </c:pt>
                      <c:pt idx="18">
                        <c:v>37.924086258135162</c:v>
                      </c:pt>
                      <c:pt idx="19">
                        <c:v>35.530803500978578</c:v>
                      </c:pt>
                      <c:pt idx="20">
                        <c:v>34.01611050304669</c:v>
                      </c:pt>
                      <c:pt idx="21">
                        <c:v>32.158995096935996</c:v>
                      </c:pt>
                      <c:pt idx="22">
                        <c:v>31.423434686986241</c:v>
                      </c:pt>
                      <c:pt idx="23">
                        <c:v>30.186420125882989</c:v>
                      </c:pt>
                      <c:pt idx="24">
                        <c:v>27.368690260358534</c:v>
                      </c:pt>
                      <c:pt idx="25">
                        <c:v>26.195313447833499</c:v>
                      </c:pt>
                      <c:pt idx="26">
                        <c:v>27.833281785135469</c:v>
                      </c:pt>
                      <c:pt idx="27">
                        <c:v>30.765649096625282</c:v>
                      </c:pt>
                      <c:pt idx="28">
                        <c:v>30.977653993628337</c:v>
                      </c:pt>
                      <c:pt idx="29">
                        <c:v>28.829544995694306</c:v>
                      </c:pt>
                      <c:pt idx="30">
                        <c:v>22.712620988830267</c:v>
                      </c:pt>
                      <c:pt idx="31">
                        <c:v>21.435594486068382</c:v>
                      </c:pt>
                      <c:pt idx="32">
                        <c:v>22.717649893894659</c:v>
                      </c:pt>
                      <c:pt idx="33">
                        <c:v>28.195138858110283</c:v>
                      </c:pt>
                      <c:pt idx="34">
                        <c:v>24.081974554204109</c:v>
                      </c:pt>
                      <c:pt idx="35">
                        <c:v>19.869689053878915</c:v>
                      </c:pt>
                      <c:pt idx="36">
                        <c:v>14.377158180148243</c:v>
                      </c:pt>
                      <c:pt idx="37">
                        <c:v>7.1795895122131981</c:v>
                      </c:pt>
                      <c:pt idx="38">
                        <c:v>9.9972817219350816</c:v>
                      </c:pt>
                      <c:pt idx="39">
                        <c:v>8.3911262353225879</c:v>
                      </c:pt>
                      <c:pt idx="40">
                        <c:v>8.0667291267726</c:v>
                      </c:pt>
                      <c:pt idx="41">
                        <c:v>8.5896710083507344</c:v>
                      </c:pt>
                      <c:pt idx="42">
                        <c:v>8.2049042944779984</c:v>
                      </c:pt>
                      <c:pt idx="43">
                        <c:v>9.1457109139460471</c:v>
                      </c:pt>
                      <c:pt idx="44">
                        <c:v>9.9359855210358319</c:v>
                      </c:pt>
                      <c:pt idx="45">
                        <c:v>9.7134554203020684</c:v>
                      </c:pt>
                      <c:pt idx="46">
                        <c:v>12.214526956028777</c:v>
                      </c:pt>
                      <c:pt idx="47">
                        <c:v>14.294336667187935</c:v>
                      </c:pt>
                      <c:pt idx="48">
                        <c:v>15.94584338928864</c:v>
                      </c:pt>
                      <c:pt idx="49">
                        <c:v>26.834368849120892</c:v>
                      </c:pt>
                      <c:pt idx="50">
                        <c:v>51.13957878186892</c:v>
                      </c:pt>
                      <c:pt idx="51">
                        <c:v>97.411530052640359</c:v>
                      </c:pt>
                      <c:pt idx="52">
                        <c:v>200.76685461632849</c:v>
                      </c:pt>
                      <c:pt idx="53">
                        <c:v>383.59402106888581</c:v>
                      </c:pt>
                      <c:pt idx="54">
                        <c:v>486.40526978670766</c:v>
                      </c:pt>
                      <c:pt idx="55">
                        <c:v>415.20367018149966</c:v>
                      </c:pt>
                      <c:pt idx="56">
                        <c:v>267.84203899950541</c:v>
                      </c:pt>
                      <c:pt idx="57">
                        <c:v>178.4359283150788</c:v>
                      </c:pt>
                      <c:pt idx="58">
                        <c:v>112.87888597219489</c:v>
                      </c:pt>
                      <c:pt idx="59">
                        <c:v>72.941878955074458</c:v>
                      </c:pt>
                      <c:pt idx="60">
                        <c:v>49.310851080489925</c:v>
                      </c:pt>
                      <c:pt idx="61">
                        <c:v>33.383479980714526</c:v>
                      </c:pt>
                      <c:pt idx="62">
                        <c:v>22.606535741013943</c:v>
                      </c:pt>
                      <c:pt idx="63">
                        <c:v>14.561670581173729</c:v>
                      </c:pt>
                      <c:pt idx="64">
                        <c:v>7.5977070716581068</c:v>
                      </c:pt>
                      <c:pt idx="65">
                        <c:v>2.6106285941218061</c:v>
                      </c:pt>
                      <c:pt idx="66">
                        <c:v>-1.1319156416084439</c:v>
                      </c:pt>
                      <c:pt idx="67">
                        <c:v>-4.8481452525846009</c:v>
                      </c:pt>
                      <c:pt idx="68">
                        <c:v>-5.3015053232670937</c:v>
                      </c:pt>
                      <c:pt idx="69">
                        <c:v>-5.1650343542290216</c:v>
                      </c:pt>
                      <c:pt idx="70">
                        <c:v>-4.7786750534631324</c:v>
                      </c:pt>
                      <c:pt idx="71">
                        <c:v>-1.785283964825382</c:v>
                      </c:pt>
                      <c:pt idx="72">
                        <c:v>-1.0854233469197396</c:v>
                      </c:pt>
                      <c:pt idx="73">
                        <c:v>-0.574336888126453</c:v>
                      </c:pt>
                      <c:pt idx="74">
                        <c:v>1.1277232232234127</c:v>
                      </c:pt>
                      <c:pt idx="75">
                        <c:v>-0.18099530858374635</c:v>
                      </c:pt>
                      <c:pt idx="76">
                        <c:v>-0.96402984762804067</c:v>
                      </c:pt>
                      <c:pt idx="77">
                        <c:v>-5.4561396482211535</c:v>
                      </c:pt>
                      <c:pt idx="78">
                        <c:v>-11.143154276997166</c:v>
                      </c:pt>
                      <c:pt idx="79">
                        <c:v>-15.682032357096276</c:v>
                      </c:pt>
                      <c:pt idx="80">
                        <c:v>-16.812733006481849</c:v>
                      </c:pt>
                      <c:pt idx="81">
                        <c:v>-14.3232280065194</c:v>
                      </c:pt>
                      <c:pt idx="82">
                        <c:v>-9.8785079769618847</c:v>
                      </c:pt>
                      <c:pt idx="83">
                        <c:v>-5.5815854212263929</c:v>
                      </c:pt>
                      <c:pt idx="84">
                        <c:v>-3.8902842535260476</c:v>
                      </c:pt>
                      <c:pt idx="85">
                        <c:v>-3.1310868782822041</c:v>
                      </c:pt>
                      <c:pt idx="86">
                        <c:v>-2.439513188730416</c:v>
                      </c:pt>
                      <c:pt idx="87">
                        <c:v>-1.912442530640746</c:v>
                      </c:pt>
                      <c:pt idx="88">
                        <c:v>6.5830383170137452E-2</c:v>
                      </c:pt>
                      <c:pt idx="89">
                        <c:v>0.35027966847226821</c:v>
                      </c:pt>
                      <c:pt idx="90">
                        <c:v>-0.56369520985643362</c:v>
                      </c:pt>
                      <c:pt idx="91">
                        <c:v>-0.30194347341425498</c:v>
                      </c:pt>
                      <c:pt idx="92">
                        <c:v>-1.2299979551424514</c:v>
                      </c:pt>
                      <c:pt idx="93">
                        <c:v>-2.0677576890988547</c:v>
                      </c:pt>
                      <c:pt idx="94">
                        <c:v>-2.9268477580066303</c:v>
                      </c:pt>
                      <c:pt idx="95">
                        <c:v>-5.1165972471617067</c:v>
                      </c:pt>
                      <c:pt idx="96">
                        <c:v>-6.7473683141413687</c:v>
                      </c:pt>
                      <c:pt idx="97">
                        <c:v>-6.2759406915829459</c:v>
                      </c:pt>
                      <c:pt idx="98">
                        <c:v>-5.3699907769410231</c:v>
                      </c:pt>
                      <c:pt idx="99">
                        <c:v>-7.1871393052659727</c:v>
                      </c:pt>
                      <c:pt idx="100">
                        <c:v>-6.7448025767734663</c:v>
                      </c:pt>
                      <c:pt idx="101">
                        <c:v>-8.1586038477878446</c:v>
                      </c:pt>
                      <c:pt idx="102">
                        <c:v>-11.225438983980609</c:v>
                      </c:pt>
                      <c:pt idx="103">
                        <c:v>-15.949082422687226</c:v>
                      </c:pt>
                      <c:pt idx="104">
                        <c:v>-15.949264492379612</c:v>
                      </c:pt>
                      <c:pt idx="105">
                        <c:v>-5.8739719118092353</c:v>
                      </c:pt>
                      <c:pt idx="106">
                        <c:v>7.4246138924124239E-2</c:v>
                      </c:pt>
                      <c:pt idx="107">
                        <c:v>5.2742613043410529</c:v>
                      </c:pt>
                      <c:pt idx="108">
                        <c:v>-0.84065984568169938</c:v>
                      </c:pt>
                      <c:pt idx="109">
                        <c:v>-15.455892452468646</c:v>
                      </c:pt>
                      <c:pt idx="110">
                        <c:v>-24.44043373788007</c:v>
                      </c:pt>
                      <c:pt idx="111">
                        <c:v>-29.71535831118247</c:v>
                      </c:pt>
                      <c:pt idx="112">
                        <c:v>-34.189206753426333</c:v>
                      </c:pt>
                      <c:pt idx="113">
                        <c:v>-35.630818235025473</c:v>
                      </c:pt>
                      <c:pt idx="114">
                        <c:v>-34.482271705055126</c:v>
                      </c:pt>
                      <c:pt idx="115">
                        <c:v>-32.205767796394781</c:v>
                      </c:pt>
                      <c:pt idx="116">
                        <c:v>-28.512571684874871</c:v>
                      </c:pt>
                      <c:pt idx="117">
                        <c:v>-24.180155995311708</c:v>
                      </c:pt>
                      <c:pt idx="118">
                        <c:v>-20.540524189511373</c:v>
                      </c:pt>
                      <c:pt idx="119">
                        <c:v>-15.732022734471826</c:v>
                      </c:pt>
                      <c:pt idx="120">
                        <c:v>-11.734405851619243</c:v>
                      </c:pt>
                      <c:pt idx="121">
                        <c:v>-8.8866213368074796</c:v>
                      </c:pt>
                      <c:pt idx="122">
                        <c:v>-6.1684789937762048</c:v>
                      </c:pt>
                      <c:pt idx="123">
                        <c:v>-4.0858800889874942</c:v>
                      </c:pt>
                      <c:pt idx="124">
                        <c:v>-0.60478111144345803</c:v>
                      </c:pt>
                      <c:pt idx="125">
                        <c:v>2.2985842022616509</c:v>
                      </c:pt>
                      <c:pt idx="126">
                        <c:v>3.9683436014516786</c:v>
                      </c:pt>
                      <c:pt idx="127">
                        <c:v>4.9699042481203861</c:v>
                      </c:pt>
                      <c:pt idx="128">
                        <c:v>5.6877795747591193</c:v>
                      </c:pt>
                      <c:pt idx="129">
                        <c:v>9.5681581575043992</c:v>
                      </c:pt>
                      <c:pt idx="130">
                        <c:v>13.921263264334044</c:v>
                      </c:pt>
                      <c:pt idx="131">
                        <c:v>16.625623886757282</c:v>
                      </c:pt>
                      <c:pt idx="132">
                        <c:v>14.249944350043251</c:v>
                      </c:pt>
                      <c:pt idx="133">
                        <c:v>7.3821538686540862</c:v>
                      </c:pt>
                      <c:pt idx="134">
                        <c:v>0.26260671164391169</c:v>
                      </c:pt>
                      <c:pt idx="135">
                        <c:v>-6.9793194463370583</c:v>
                      </c:pt>
                      <c:pt idx="136">
                        <c:v>-8.6710338880433966</c:v>
                      </c:pt>
                      <c:pt idx="137">
                        <c:v>-6.9530443738302807</c:v>
                      </c:pt>
                      <c:pt idx="138">
                        <c:v>-5.8378016667338528</c:v>
                      </c:pt>
                      <c:pt idx="139">
                        <c:v>-3.5340491080688423</c:v>
                      </c:pt>
                      <c:pt idx="140">
                        <c:v>-4.1502386698583109</c:v>
                      </c:pt>
                      <c:pt idx="141">
                        <c:v>-5.1318084702938336</c:v>
                      </c:pt>
                      <c:pt idx="142">
                        <c:v>-5.6175356771990863</c:v>
                      </c:pt>
                      <c:pt idx="143">
                        <c:v>-6.8644991550073939</c:v>
                      </c:pt>
                      <c:pt idx="144">
                        <c:v>-7.0855239090739133</c:v>
                      </c:pt>
                      <c:pt idx="145">
                        <c:v>-10.698558243877784</c:v>
                      </c:pt>
                      <c:pt idx="146">
                        <c:v>-13.657743092177526</c:v>
                      </c:pt>
                      <c:pt idx="147">
                        <c:v>-12.472006199431689</c:v>
                      </c:pt>
                      <c:pt idx="148">
                        <c:v>-13.22432545978468</c:v>
                      </c:pt>
                      <c:pt idx="149">
                        <c:v>-15.579797093937728</c:v>
                      </c:pt>
                      <c:pt idx="150">
                        <c:v>-16.565595402634003</c:v>
                      </c:pt>
                      <c:pt idx="151">
                        <c:v>-16.376581481902676</c:v>
                      </c:pt>
                      <c:pt idx="152">
                        <c:v>-13.744871014746479</c:v>
                      </c:pt>
                      <c:pt idx="153">
                        <c:v>-10.161470971272351</c:v>
                      </c:pt>
                      <c:pt idx="154">
                        <c:v>-10.712926355332144</c:v>
                      </c:pt>
                      <c:pt idx="155">
                        <c:v>0.38220064353131988</c:v>
                      </c:pt>
                      <c:pt idx="156">
                        <c:v>13.755058619046139</c:v>
                      </c:pt>
                      <c:pt idx="157">
                        <c:v>27.0068992034616</c:v>
                      </c:pt>
                      <c:pt idx="158">
                        <c:v>39.244245533410009</c:v>
                      </c:pt>
                      <c:pt idx="159">
                        <c:v>29.996453136439357</c:v>
                      </c:pt>
                      <c:pt idx="160">
                        <c:v>23.43643105530353</c:v>
                      </c:pt>
                      <c:pt idx="161">
                        <c:v>25.109506586747756</c:v>
                      </c:pt>
                      <c:pt idx="162">
                        <c:v>31.95269555023205</c:v>
                      </c:pt>
                      <c:pt idx="163">
                        <c:v>39.42644704400081</c:v>
                      </c:pt>
                      <c:pt idx="164">
                        <c:v>48.592869684431861</c:v>
                      </c:pt>
                      <c:pt idx="165">
                        <c:v>50.789947464499647</c:v>
                      </c:pt>
                      <c:pt idx="166">
                        <c:v>48.675207378194926</c:v>
                      </c:pt>
                      <c:pt idx="167">
                        <c:v>44.59400529071246</c:v>
                      </c:pt>
                      <c:pt idx="168">
                        <c:v>39.618089686124137</c:v>
                      </c:pt>
                      <c:pt idx="169">
                        <c:v>33.585516847373952</c:v>
                      </c:pt>
                      <c:pt idx="170">
                        <c:v>28.115336183003677</c:v>
                      </c:pt>
                      <c:pt idx="171">
                        <c:v>22.3496961840344</c:v>
                      </c:pt>
                      <c:pt idx="172">
                        <c:v>15.272696954066205</c:v>
                      </c:pt>
                      <c:pt idx="173">
                        <c:v>10.995682285957571</c:v>
                      </c:pt>
                      <c:pt idx="174">
                        <c:v>7.5770318585443306</c:v>
                      </c:pt>
                      <c:pt idx="175">
                        <c:v>3.7879391051408788</c:v>
                      </c:pt>
                      <c:pt idx="176">
                        <c:v>1.8200295101152335</c:v>
                      </c:pt>
                      <c:pt idx="177">
                        <c:v>0.76650062463579616</c:v>
                      </c:pt>
                      <c:pt idx="178">
                        <c:v>-0.10846167609021506</c:v>
                      </c:pt>
                      <c:pt idx="179">
                        <c:v>1.1904425186231862</c:v>
                      </c:pt>
                      <c:pt idx="180">
                        <c:v>1.69660409222314</c:v>
                      </c:pt>
                      <c:pt idx="181">
                        <c:v>1.083804721468411</c:v>
                      </c:pt>
                      <c:pt idx="182">
                        <c:v>1.8774007087815221</c:v>
                      </c:pt>
                      <c:pt idx="183">
                        <c:v>3.4555113149997965</c:v>
                      </c:pt>
                      <c:pt idx="184">
                        <c:v>6.2396515482753898</c:v>
                      </c:pt>
                      <c:pt idx="185">
                        <c:v>9.7327273918913875</c:v>
                      </c:pt>
                      <c:pt idx="186">
                        <c:v>12.470063834529043</c:v>
                      </c:pt>
                      <c:pt idx="187">
                        <c:v>16.129761656979454</c:v>
                      </c:pt>
                      <c:pt idx="188">
                        <c:v>17.53464471370016</c:v>
                      </c:pt>
                      <c:pt idx="189">
                        <c:v>17.661604905863811</c:v>
                      </c:pt>
                      <c:pt idx="190">
                        <c:v>16.278451360511497</c:v>
                      </c:pt>
                      <c:pt idx="191">
                        <c:v>13.019749801387206</c:v>
                      </c:pt>
                      <c:pt idx="192">
                        <c:v>12.176877359348936</c:v>
                      </c:pt>
                      <c:pt idx="193">
                        <c:v>10.960421388529824</c:v>
                      </c:pt>
                      <c:pt idx="194">
                        <c:v>10.95348552426627</c:v>
                      </c:pt>
                      <c:pt idx="195">
                        <c:v>11.177001340946617</c:v>
                      </c:pt>
                      <c:pt idx="196">
                        <c:v>10.877859632490839</c:v>
                      </c:pt>
                      <c:pt idx="197">
                        <c:v>13.254287042331072</c:v>
                      </c:pt>
                      <c:pt idx="198">
                        <c:v>16.446611459341483</c:v>
                      </c:pt>
                      <c:pt idx="199">
                        <c:v>15.318531253656971</c:v>
                      </c:pt>
                      <c:pt idx="200">
                        <c:v>18.110301548155249</c:v>
                      </c:pt>
                      <c:pt idx="201">
                        <c:v>26.125909422936417</c:v>
                      </c:pt>
                      <c:pt idx="202">
                        <c:v>28.475273576011915</c:v>
                      </c:pt>
                      <c:pt idx="203">
                        <c:v>29.565146096440685</c:v>
                      </c:pt>
                      <c:pt idx="204">
                        <c:v>23.993059918494538</c:v>
                      </c:pt>
                      <c:pt idx="205">
                        <c:v>18.816384199530049</c:v>
                      </c:pt>
                      <c:pt idx="206">
                        <c:v>26.854720888231995</c:v>
                      </c:pt>
                      <c:pt idx="207">
                        <c:v>26.649493656128115</c:v>
                      </c:pt>
                      <c:pt idx="208">
                        <c:v>14.978162559076509</c:v>
                      </c:pt>
                      <c:pt idx="209">
                        <c:v>-10.158893039940125</c:v>
                      </c:pt>
                      <c:pt idx="210">
                        <c:v>-26.473544391718335</c:v>
                      </c:pt>
                      <c:pt idx="211">
                        <c:v>-30.067348867714514</c:v>
                      </c:pt>
                      <c:pt idx="212">
                        <c:v>-24.10470986689306</c:v>
                      </c:pt>
                      <c:pt idx="213">
                        <c:v>-12.041062984246295</c:v>
                      </c:pt>
                      <c:pt idx="214">
                        <c:v>-8.0140921196872199</c:v>
                      </c:pt>
                      <c:pt idx="215">
                        <c:v>-7.3012153386607679</c:v>
                      </c:pt>
                      <c:pt idx="216">
                        <c:v>-8.0092056509312215</c:v>
                      </c:pt>
                      <c:pt idx="217">
                        <c:v>-5.9432379865302636</c:v>
                      </c:pt>
                      <c:pt idx="218">
                        <c:v>-4.5900614256305801</c:v>
                      </c:pt>
                      <c:pt idx="219">
                        <c:v>-3.8281322782831211</c:v>
                      </c:pt>
                      <c:pt idx="220">
                        <c:v>-1.0653568816708088</c:v>
                      </c:pt>
                      <c:pt idx="221">
                        <c:v>-3.4245607610300226</c:v>
                      </c:pt>
                      <c:pt idx="222">
                        <c:v>-4.0256789277534182</c:v>
                      </c:pt>
                      <c:pt idx="223">
                        <c:v>-4.2714528492103625</c:v>
                      </c:pt>
                      <c:pt idx="224">
                        <c:v>-6.2630122787151237</c:v>
                      </c:pt>
                      <c:pt idx="225">
                        <c:v>-7.3733905245970135</c:v>
                      </c:pt>
                      <c:pt idx="226">
                        <c:v>-10.630297844616621</c:v>
                      </c:pt>
                      <c:pt idx="227">
                        <c:v>-10.880199253892329</c:v>
                      </c:pt>
                      <c:pt idx="228">
                        <c:v>-12.537313672551846</c:v>
                      </c:pt>
                      <c:pt idx="229">
                        <c:v>-11.9197896657938</c:v>
                      </c:pt>
                      <c:pt idx="230">
                        <c:v>-10.810129549239377</c:v>
                      </c:pt>
                      <c:pt idx="231">
                        <c:v>-12.168357240740107</c:v>
                      </c:pt>
                      <c:pt idx="232">
                        <c:v>-11.217283794198991</c:v>
                      </c:pt>
                      <c:pt idx="233">
                        <c:v>-10.678411399519746</c:v>
                      </c:pt>
                      <c:pt idx="234">
                        <c:v>-10.247546793720744</c:v>
                      </c:pt>
                      <c:pt idx="235">
                        <c:v>-10.486149001782024</c:v>
                      </c:pt>
                      <c:pt idx="236">
                        <c:v>-10.996843283579608</c:v>
                      </c:pt>
                      <c:pt idx="237">
                        <c:v>-10.515739773661863</c:v>
                      </c:pt>
                      <c:pt idx="238">
                        <c:v>-9.6200465814529679</c:v>
                      </c:pt>
                      <c:pt idx="239">
                        <c:v>-7.5824255791774249</c:v>
                      </c:pt>
                      <c:pt idx="240">
                        <c:v>-8.0138574323307949</c:v>
                      </c:pt>
                      <c:pt idx="241">
                        <c:v>-10.198697673809988</c:v>
                      </c:pt>
                      <c:pt idx="242">
                        <c:v>-8.8470066912865377</c:v>
                      </c:pt>
                      <c:pt idx="243">
                        <c:v>-13.3348438311791</c:v>
                      </c:pt>
                      <c:pt idx="244">
                        <c:v>-11.676174854207105</c:v>
                      </c:pt>
                      <c:pt idx="245">
                        <c:v>-9.5381302967447823</c:v>
                      </c:pt>
                      <c:pt idx="246">
                        <c:v>-10.911294164149169</c:v>
                      </c:pt>
                      <c:pt idx="247">
                        <c:v>-7.2761548720229712</c:v>
                      </c:pt>
                      <c:pt idx="248">
                        <c:v>-7.8424323133789073</c:v>
                      </c:pt>
                      <c:pt idx="249">
                        <c:v>-6.9317190178763468</c:v>
                      </c:pt>
                      <c:pt idx="250">
                        <c:v>-5.4808471419485585</c:v>
                      </c:pt>
                      <c:pt idx="251">
                        <c:v>-3.4706269464850124</c:v>
                      </c:pt>
                      <c:pt idx="252">
                        <c:v>-3.9421992640658203</c:v>
                      </c:pt>
                      <c:pt idx="253">
                        <c:v>-7.2842691859518141</c:v>
                      </c:pt>
                      <c:pt idx="254">
                        <c:v>-9.5080518547181043</c:v>
                      </c:pt>
                      <c:pt idx="255">
                        <c:v>-10.396154937001839</c:v>
                      </c:pt>
                      <c:pt idx="256">
                        <c:v>-9.670030933418559</c:v>
                      </c:pt>
                      <c:pt idx="257">
                        <c:v>-7.6088300565821498</c:v>
                      </c:pt>
                      <c:pt idx="258">
                        <c:v>-10.374074124217302</c:v>
                      </c:pt>
                      <c:pt idx="259">
                        <c:v>-19.876035491633601</c:v>
                      </c:pt>
                      <c:pt idx="260">
                        <c:v>-22.230426022850253</c:v>
                      </c:pt>
                      <c:pt idx="261">
                        <c:v>-13.638758524599737</c:v>
                      </c:pt>
                      <c:pt idx="262">
                        <c:v>-5.6982265697348708</c:v>
                      </c:pt>
                      <c:pt idx="263">
                        <c:v>6.8125202455811689</c:v>
                      </c:pt>
                      <c:pt idx="264">
                        <c:v>7.4544103519648388</c:v>
                      </c:pt>
                      <c:pt idx="265">
                        <c:v>-2.6366789298294719</c:v>
                      </c:pt>
                      <c:pt idx="266">
                        <c:v>-4.9335849837591468</c:v>
                      </c:pt>
                      <c:pt idx="267">
                        <c:v>-4.0110548637504451</c:v>
                      </c:pt>
                      <c:pt idx="268">
                        <c:v>-2.6404104776136563</c:v>
                      </c:pt>
                      <c:pt idx="269">
                        <c:v>-4.0060723483036043</c:v>
                      </c:pt>
                      <c:pt idx="270">
                        <c:v>-4.6116687945160493</c:v>
                      </c:pt>
                      <c:pt idx="271">
                        <c:v>-5.7828436722020768</c:v>
                      </c:pt>
                      <c:pt idx="272">
                        <c:v>-6.8512426647092468</c:v>
                      </c:pt>
                      <c:pt idx="273">
                        <c:v>-6.4263794650925519</c:v>
                      </c:pt>
                      <c:pt idx="274">
                        <c:v>-6.0418629292843207</c:v>
                      </c:pt>
                      <c:pt idx="275">
                        <c:v>-4.9605452145122371</c:v>
                      </c:pt>
                      <c:pt idx="276">
                        <c:v>-4.5645374776387371</c:v>
                      </c:pt>
                      <c:pt idx="277">
                        <c:v>-4.1985825727026196</c:v>
                      </c:pt>
                      <c:pt idx="278">
                        <c:v>-1.75275872379612</c:v>
                      </c:pt>
                      <c:pt idx="279">
                        <c:v>-1.6826207120185188</c:v>
                      </c:pt>
                      <c:pt idx="280">
                        <c:v>-1.674485723423274</c:v>
                      </c:pt>
                      <c:pt idx="281">
                        <c:v>-0.2471837333853415</c:v>
                      </c:pt>
                      <c:pt idx="282">
                        <c:v>-0.27928411809726583</c:v>
                      </c:pt>
                      <c:pt idx="283">
                        <c:v>0.55727803682816557</c:v>
                      </c:pt>
                      <c:pt idx="284">
                        <c:v>1.2347194376375086</c:v>
                      </c:pt>
                      <c:pt idx="285">
                        <c:v>1.3745544945520436</c:v>
                      </c:pt>
                      <c:pt idx="286">
                        <c:v>0.11161366258323824</c:v>
                      </c:pt>
                      <c:pt idx="287">
                        <c:v>7.455459914345397E-2</c:v>
                      </c:pt>
                      <c:pt idx="288">
                        <c:v>0.18585622981591143</c:v>
                      </c:pt>
                      <c:pt idx="289">
                        <c:v>0.2144225656755907</c:v>
                      </c:pt>
                      <c:pt idx="290">
                        <c:v>0.4436200856936523</c:v>
                      </c:pt>
                      <c:pt idx="291">
                        <c:v>8.6859095105708661E-2</c:v>
                      </c:pt>
                      <c:pt idx="292">
                        <c:v>1.7134989258002236</c:v>
                      </c:pt>
                      <c:pt idx="293">
                        <c:v>3.8404249923876819</c:v>
                      </c:pt>
                      <c:pt idx="294">
                        <c:v>6.9524370607628043</c:v>
                      </c:pt>
                      <c:pt idx="295">
                        <c:v>7.1511901971219345</c:v>
                      </c:pt>
                      <c:pt idx="296">
                        <c:v>5.7684419955733404</c:v>
                      </c:pt>
                      <c:pt idx="297">
                        <c:v>4.3187145003402634</c:v>
                      </c:pt>
                      <c:pt idx="298">
                        <c:v>2.0823987833311861</c:v>
                      </c:pt>
                      <c:pt idx="299">
                        <c:v>3.4364832489182788</c:v>
                      </c:pt>
                      <c:pt idx="300">
                        <c:v>3.0991743659437816</c:v>
                      </c:pt>
                      <c:pt idx="301">
                        <c:v>2.8219206731931621</c:v>
                      </c:pt>
                      <c:pt idx="302">
                        <c:v>1.668748341146653</c:v>
                      </c:pt>
                      <c:pt idx="303">
                        <c:v>0.72289193539924668</c:v>
                      </c:pt>
                      <c:pt idx="304">
                        <c:v>0.70997385439535776</c:v>
                      </c:pt>
                    </c:numCache>
                  </c:numRef>
                </c:val>
                <c:smooth val="1"/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05-A15F-4465-BB40-C6A6CC259C8C}"/>
                  </c:ext>
                </c:extLst>
              </c15:ser>
            </c15:filteredLineSeries>
          </c:ext>
        </c:extLst>
      </c:lineChart>
      <c:dateAx>
        <c:axId val="-158364608"/>
        <c:scaling>
          <c:orientation val="minMax"/>
          <c:min val="45292"/>
        </c:scaling>
        <c:delete val="0"/>
        <c:axPos val="b"/>
        <c:numFmt formatCode="yy/m;@" sourceLinked="0"/>
        <c:majorTickMark val="in"/>
        <c:minorTickMark val="none"/>
        <c:tickLblPos val="low"/>
        <c:spPr>
          <a:noFill/>
          <a:ln w="6350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58376032"/>
        <c:crosses val="autoZero"/>
        <c:auto val="0"/>
        <c:lblOffset val="100"/>
        <c:baseTimeUnit val="days"/>
        <c:majorUnit val="3"/>
        <c:majorTimeUnit val="months"/>
      </c:dateAx>
      <c:valAx>
        <c:axId val="-158376032"/>
        <c:scaling>
          <c:orientation val="minMax"/>
          <c:max val="80"/>
          <c:min val="-6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ysClr val="windowText" lastClr="000000">
                      <a:lumMod val="15000"/>
                      <a:lumOff val="85000"/>
                    </a:sysClr>
                  </a:solidFill>
                  <a:round/>
                </a14:hiddenLine>
              </a:ext>
            </a:extLst>
          </c:spPr>
        </c:majorGridlines>
        <c:numFmt formatCode="###,###,###,###,##0" sourceLinked="0"/>
        <c:majorTickMark val="in"/>
        <c:minorTickMark val="none"/>
        <c:tickLblPos val="nextTo"/>
        <c:spPr>
          <a:noFill/>
          <a:ln w="6350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58364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9.2782633964438518E-2"/>
          <c:y val="8.361437969816525E-3"/>
          <c:w val="0.90721736603556147"/>
          <c:h val="6.54841253544179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  <c:extLst xmlns:c16r2="http://schemas.microsoft.com/office/drawing/2015/06/chart"/>
  </c:chart>
  <c:spPr>
    <a:solidFill>
      <a:sysClr val="window" lastClr="FFFFFF"/>
    </a:solidFill>
    <a:ln w="9525" cap="flat" cmpd="sng" algn="ctr">
      <a:noFill/>
      <a:round/>
    </a:ln>
    <a:effectLst/>
    <a:extLst>
      <a:ext uri="{91240B29-F687-4F45-9708-019B960494DF}">
        <a14:hiddenLine xmlns:a14="http://schemas.microsoft.com/office/drawing/2010/main" w="9525" cap="flat" cmpd="sng" algn="ctr">
          <a:solidFill>
            <a:sysClr val="windowText" lastClr="000000">
              <a:lumMod val="15000"/>
              <a:lumOff val="85000"/>
            </a:sysClr>
          </a:solidFill>
          <a:round/>
        </a14:hiddenLine>
      </a:ext>
    </a:extLst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zh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72F638-0C0C-4CA8-863A-1E2917928455}" type="datetimeFigureOut">
              <a:rPr lang="zh-CN" altLang="en-US" smtClean="0"/>
              <a:t>2025/12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D096B5-0F79-4FDB-AF32-65CF87E9E62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2868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940075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79E73934-97DA-273F-E26A-3A8AC7975D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9DD53203-5DE1-6AF9-B3D8-40161CCF74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3928463B-B19E-C3EA-7176-052D165937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466756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4E0AA5A-1D2D-3FA2-51D1-A48E33A044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42285D4A-562E-A57F-39A4-D0705D536D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9D52FEE6-6270-53D1-AF4E-143067A74A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6257393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AF8A5265-638A-ABBF-4AB4-3CF893351E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CED5E72F-1209-0E68-AD6D-7C89D3E0BE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E149B741-04D1-8972-B201-6BDAA4702A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9600866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412454C2-51FD-056B-2D24-0651C6795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87C36C21-1D54-DDEE-AA56-4DBD782CA9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A6E4C5D5-195D-CE90-EF5B-60A9B50F9C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8651485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1C730D14-2D19-A839-D88D-80B562E53A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1AE52E52-E29E-96B8-42C4-3C1C2A18A8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82191504-0BA0-3B0C-3E95-04D565A94C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3835965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C8854CA3-9B93-0194-66DB-33DEEE57A7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BBD3B5AF-0DF7-D64B-E2D8-1FBB0EB02C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DDD28D3F-A591-55D1-1793-B36B0A1819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494831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141F672-9835-A204-9A13-6AD9B6F587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B7C05384-3318-35F5-B213-17D8669BF0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10E17086-8AB6-7A9E-C45E-B5198CD529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17107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84C563F2-948D-C778-15ED-E262410CF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CFDEF9FC-2BD9-DAF3-A293-6F32754623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4909D35D-043E-F3B6-E87D-21D428B599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9481211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0B36B02-2773-4F8E-0954-191E6AD35F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00489E3D-2BE7-1073-396C-418F73EC77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50E24EE1-A1EF-CCC1-9749-34DA622B9B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455631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D3577B0E-3684-D7E9-6BFA-1D2170F675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C20AE629-2BCE-6BF7-D5BC-866D721E23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9BC87F2B-3506-8257-6842-D7BBDBB70C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271916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5B8C8249-92DD-EE6E-48DF-585A3D079A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D49964F4-F49C-1D1F-9DC7-316165B1E5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FD846176-FB7B-EC52-44C5-399FBDF633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4482666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BE1D2DB-0683-CF1E-B7D4-D4BB591E9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161D9173-58DC-99B8-E5C2-898F36C25D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F43D53D2-BA95-F941-0CA3-CCF45C3072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0301528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41ABC4F-8A45-CB6A-74F7-803D88370D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68FF5508-A5C8-C8D7-7924-1D9094FAE0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9B4A71CE-B34F-6FD4-A5FC-795E55D0ED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635301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58ABD83-19D4-1EB7-2A77-CBDF660C03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606B54B7-CAAF-0F55-D042-9056B9CBE7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1B40421A-706F-71EA-6A24-5FCA41F57D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521803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image" Target="../media/image4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7.vml"/><Relationship Id="rId6" Type="http://schemas.openxmlformats.org/officeDocument/2006/relationships/tags" Target="../tags/tag52.xml"/><Relationship Id="rId11" Type="http://schemas.openxmlformats.org/officeDocument/2006/relationships/image" Target="../media/image3.emf"/><Relationship Id="rId5" Type="http://schemas.openxmlformats.org/officeDocument/2006/relationships/tags" Target="../tags/tag51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image" Target="../media/image2.emf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oleObject" Target="../embeddings/oleObject8.bin"/><Relationship Id="rId2" Type="http://schemas.openxmlformats.org/officeDocument/2006/relationships/tags" Target="../tags/tag55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8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4.jpeg"/><Relationship Id="rId2" Type="http://schemas.openxmlformats.org/officeDocument/2006/relationships/tags" Target="../tags/tag69.xml"/><Relationship Id="rId1" Type="http://schemas.openxmlformats.org/officeDocument/2006/relationships/vmlDrawing" Target="../drawings/vmlDrawing9.vml"/><Relationship Id="rId6" Type="http://schemas.openxmlformats.org/officeDocument/2006/relationships/tags" Target="../tags/tag73.xml"/><Relationship Id="rId11" Type="http://schemas.openxmlformats.org/officeDocument/2006/relationships/image" Target="../media/image2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7.xml"/><Relationship Id="rId7" Type="http://schemas.openxmlformats.org/officeDocument/2006/relationships/oleObject" Target="../embeddings/oleObject3.bin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4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4.vml"/><Relationship Id="rId6" Type="http://schemas.openxmlformats.org/officeDocument/2006/relationships/tags" Target="../tags/tag34.xml"/><Relationship Id="rId11" Type="http://schemas.openxmlformats.org/officeDocument/2006/relationships/image" Target="../media/image4.jpeg"/><Relationship Id="rId5" Type="http://schemas.openxmlformats.org/officeDocument/2006/relationships/tags" Target="../tags/tag33.xml"/><Relationship Id="rId10" Type="http://schemas.openxmlformats.org/officeDocument/2006/relationships/image" Target="../media/image3.emf"/><Relationship Id="rId4" Type="http://schemas.openxmlformats.org/officeDocument/2006/relationships/tags" Target="../tags/tag32.xml"/><Relationship Id="rId9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5.vml"/><Relationship Id="rId6" Type="http://schemas.openxmlformats.org/officeDocument/2006/relationships/tags" Target="../tags/tag40.xml"/><Relationship Id="rId11" Type="http://schemas.openxmlformats.org/officeDocument/2006/relationships/image" Target="../media/image4.jpeg"/><Relationship Id="rId5" Type="http://schemas.openxmlformats.org/officeDocument/2006/relationships/tags" Target="../tags/tag39.xml"/><Relationship Id="rId10" Type="http://schemas.openxmlformats.org/officeDocument/2006/relationships/image" Target="../media/image3.emf"/><Relationship Id="rId4" Type="http://schemas.openxmlformats.org/officeDocument/2006/relationships/tags" Target="../tags/tag38.xml"/><Relationship Id="rId9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tags" Target="../tags/tag46.xml"/><Relationship Id="rId11" Type="http://schemas.openxmlformats.org/officeDocument/2006/relationships/image" Target="../media/image4.jpeg"/><Relationship Id="rId5" Type="http://schemas.openxmlformats.org/officeDocument/2006/relationships/tags" Target="../tags/tag45.xml"/><Relationship Id="rId10" Type="http://schemas.openxmlformats.org/officeDocument/2006/relationships/image" Target="../media/image3.emf"/><Relationship Id="rId4" Type="http://schemas.openxmlformats.org/officeDocument/2006/relationships/tags" Target="../tags/tag44.xml"/><Relationship Id="rId9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正文级别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xmlns="" id="{1B886ADE-170E-4534-B96C-087F9784B8E3}"/>
              </a:ext>
            </a:extLst>
          </p:cNvPr>
          <p:cNvSpPr/>
          <p:nvPr userDrawn="1"/>
        </p:nvSpPr>
        <p:spPr>
          <a:xfrm>
            <a:off x="11884121" y="6060525"/>
            <a:ext cx="307879" cy="1107990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indent="0" algn="l" defTabSz="325111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6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16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1866060" y="6426314"/>
            <a:ext cx="344001" cy="338550"/>
          </a:xfrm>
          <a:prstGeom prst="rect">
            <a:avLst/>
          </a:prstGeo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fld id="{86CB4B4D-7CA3-9044-876B-883B54F8677D}" type="slidenum">
              <a:rPr lang="en-US" altLang="zh-CN" smtClean="0"/>
              <a:pPr/>
              <a:t>‹#›</a:t>
            </a:fld>
            <a:endParaRPr lang="en-US" altLang="zh-CN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xmlns="" id="{5297D44C-0E92-9818-E288-8325D26FDA9A}"/>
              </a:ext>
            </a:extLst>
          </p:cNvPr>
          <p:cNvSpPr/>
          <p:nvPr userDrawn="1"/>
        </p:nvSpPr>
        <p:spPr>
          <a:xfrm>
            <a:off x="11884121" y="6060525"/>
            <a:ext cx="307879" cy="1107990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indent="0" algn="l" defTabSz="325111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6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4" name="灯片编号占位符 5">
            <a:extLst>
              <a:ext uri="{FF2B5EF4-FFF2-40B4-BE49-F238E27FC236}">
                <a16:creationId xmlns:a16="http://schemas.microsoft.com/office/drawing/2014/main" xmlns="" id="{7E1C5E21-E61D-C3CB-34FF-3E09648C4481}"/>
              </a:ext>
            </a:extLst>
          </p:cNvPr>
          <p:cNvSpPr txBox="1">
            <a:spLocks/>
          </p:cNvSpPr>
          <p:nvPr userDrawn="1"/>
        </p:nvSpPr>
        <p:spPr>
          <a:xfrm>
            <a:off x="11843915" y="6371039"/>
            <a:ext cx="374776" cy="369326"/>
          </a:xfrm>
          <a:prstGeom prst="rect">
            <a:avLst/>
          </a:prstGeom>
          <a:ln w="12700">
            <a:miter lim="400000"/>
          </a:ln>
        </p:spPr>
        <p:txBody>
          <a:bodyPr wrap="none" lIns="60957" tIns="60957" rIns="60957" bIns="60957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0C913308-F349-4B6D-A68A-DD1791B4A57B}" type="slidenum">
              <a:rPr lang="zh-CN" altLang="en-US" sz="1600" smtClean="0"/>
              <a:pPr/>
              <a:t>‹#›</a:t>
            </a:fld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847949113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8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F350A0C1-CF1E-0751-8FF6-CE1996830179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5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xmlns="" id="{C3B91C98-11E2-8198-7388-68181B81B6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DE7260A3-EE63-DE36-D5EE-34CA4C6CD35F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34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970725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2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2500" b="1" dirty="0" err="1">
              <a:solidFill>
                <a:srgbClr val="FFFFFF"/>
              </a:solidFill>
              <a:latin typeface="Georgia" panose="02040502050405020303" pitchFamily="18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rgbClr val="F0F0F0"/>
              </a:solidFill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74565" y="6499381"/>
            <a:ext cx="107080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>
              <a:defRPr/>
            </a:pPr>
            <a:r>
              <a:rPr lang="en-US" altLang="zh-CN" sz="900" dirty="0" err="1">
                <a:solidFill>
                  <a:srgbClr val="000000"/>
                </a:solidFill>
                <a:cs typeface="Arial" panose="020B0604020202020204" pitchFamily="34" charset="0"/>
              </a:rPr>
              <a:t>McKinsey&amp;Company</a:t>
            </a:r>
            <a:endParaRPr lang="en-US" altLang="zh-CN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altLang="zh-CN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zh-CN" alt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zh-CN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altLang="en-US" sz="800">
                <a:solidFill>
                  <a:srgbClr val="000000"/>
                </a:solidFill>
              </a:rPr>
              <a:t>资料来源：</a:t>
            </a:r>
            <a:r>
              <a:rPr lang="en-US" altLang="zh-CN" sz="80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24FC89B9-27D6-473D-93DF-880226F4C89E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63337359-D43D-43A2-84F1-8094F8635AB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altLang="zh-CN" sz="1600"/>
              <a:t>Click to edit Master subtitle style</a:t>
            </a:r>
            <a:endParaRPr lang="zh-CN" sz="1600" dirty="0"/>
          </a:p>
        </p:txBody>
      </p:sp>
      <p:sp>
        <p:nvSpPr>
          <p:cNvPr id="25" name="1. On-page tracker">
            <a:extLst>
              <a:ext uri="{FF2B5EF4-FFF2-40B4-BE49-F238E27FC236}">
                <a16:creationId xmlns:a16="http://schemas.microsoft.com/office/drawing/2014/main" xmlns="" id="{E56FBB8C-4E9C-4207-9A79-5E0466E3B3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zh-CN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7353373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48DE95B4-AE0C-7EEC-4C08-E3F3FC75B621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4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xmlns="" id="{A5A449F4-9A94-8C4C-4BB5-56A0788520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C61C9440-2E33-5BEB-02DF-A72A9F978542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9121699" cy="54541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FFFFFF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141657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任意多边形: 形状 47">
            <a:extLst>
              <a:ext uri="{FF2B5EF4-FFF2-40B4-BE49-F238E27FC236}">
                <a16:creationId xmlns:a16="http://schemas.microsoft.com/office/drawing/2014/main" xmlns="" id="{C3786B9E-054E-4287-B177-412FFEADC2D3}"/>
              </a:ext>
            </a:extLst>
          </p:cNvPr>
          <p:cNvSpPr/>
          <p:nvPr userDrawn="1"/>
        </p:nvSpPr>
        <p:spPr>
          <a:xfrm flipH="1">
            <a:off x="-4475" y="711200"/>
            <a:ext cx="5174550" cy="6146800"/>
          </a:xfrm>
          <a:custGeom>
            <a:avLst/>
            <a:gdLst>
              <a:gd name="connsiteX0" fmla="*/ 1730139 w 5174550"/>
              <a:gd name="connsiteY0" fmla="*/ 0 h 6146800"/>
              <a:gd name="connsiteX1" fmla="*/ 785190 w 5174550"/>
              <a:gd name="connsiteY1" fmla="*/ 0 h 6146800"/>
              <a:gd name="connsiteX2" fmla="*/ 510939 w 5174550"/>
              <a:gd name="connsiteY2" fmla="*/ 0 h 6146800"/>
              <a:gd name="connsiteX3" fmla="*/ 434009 w 5174550"/>
              <a:gd name="connsiteY3" fmla="*/ 0 h 6146800"/>
              <a:gd name="connsiteX4" fmla="*/ 0 w 5174550"/>
              <a:gd name="connsiteY4" fmla="*/ 774522 h 6146800"/>
              <a:gd name="connsiteX5" fmla="*/ 3010401 w 5174550"/>
              <a:gd name="connsiteY5" fmla="*/ 6146800 h 6146800"/>
              <a:gd name="connsiteX6" fmla="*/ 3955350 w 5174550"/>
              <a:gd name="connsiteY6" fmla="*/ 6146800 h 6146800"/>
              <a:gd name="connsiteX7" fmla="*/ 4229601 w 5174550"/>
              <a:gd name="connsiteY7" fmla="*/ 6146800 h 6146800"/>
              <a:gd name="connsiteX8" fmla="*/ 5174550 w 5174550"/>
              <a:gd name="connsiteY8" fmla="*/ 6146800 h 614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74550" h="6146800">
                <a:moveTo>
                  <a:pt x="1730139" y="0"/>
                </a:moveTo>
                <a:lnTo>
                  <a:pt x="785190" y="0"/>
                </a:lnTo>
                <a:lnTo>
                  <a:pt x="510939" y="0"/>
                </a:lnTo>
                <a:lnTo>
                  <a:pt x="434009" y="0"/>
                </a:lnTo>
                <a:lnTo>
                  <a:pt x="0" y="774522"/>
                </a:lnTo>
                <a:lnTo>
                  <a:pt x="3010401" y="6146800"/>
                </a:lnTo>
                <a:lnTo>
                  <a:pt x="3955350" y="6146800"/>
                </a:lnTo>
                <a:lnTo>
                  <a:pt x="4229601" y="6146800"/>
                </a:lnTo>
                <a:lnTo>
                  <a:pt x="5174550" y="614680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 dirty="0">
              <a:solidFill>
                <a:srgbClr val="000000"/>
              </a:solidFill>
            </a:endParaRPr>
          </a:p>
        </p:txBody>
      </p:sp>
      <p:sp>
        <p:nvSpPr>
          <p:cNvPr id="31" name="Rectangle 2_2">
            <a:extLst>
              <a:ext uri="{FF2B5EF4-FFF2-40B4-BE49-F238E27FC236}">
                <a16:creationId xmlns:a16="http://schemas.microsoft.com/office/drawing/2014/main" xmlns="" id="{A56AC786-B6DF-470F-A893-22C4416AA79F}"/>
              </a:ext>
            </a:extLst>
          </p:cNvPr>
          <p:cNvSpPr/>
          <p:nvPr userDrawn="1"/>
        </p:nvSpPr>
        <p:spPr>
          <a:xfrm>
            <a:off x="0" y="1462175"/>
            <a:ext cx="12192000" cy="3322769"/>
          </a:xfrm>
          <a:prstGeom prst="rect">
            <a:avLst/>
          </a:prstGeom>
          <a:blipFill>
            <a:blip r:embed="rId2"/>
            <a:stretch>
              <a:fillRect t="-225861" b="-22414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xmlns="" id="{DBC81850-0FE5-46C6-B952-F1700C2104EF}"/>
              </a:ext>
            </a:extLst>
          </p:cNvPr>
          <p:cNvSpPr/>
          <p:nvPr/>
        </p:nvSpPr>
        <p:spPr>
          <a:xfrm rot="292154">
            <a:off x="4603891" y="5539278"/>
            <a:ext cx="1326105" cy="1327954"/>
          </a:xfrm>
          <a:custGeom>
            <a:avLst/>
            <a:gdLst>
              <a:gd name="connsiteX0" fmla="*/ 823782 w 1326105"/>
              <a:gd name="connsiteY0" fmla="*/ 494129 h 1327954"/>
              <a:gd name="connsiteX1" fmla="*/ 893587 w 1326105"/>
              <a:gd name="connsiteY1" fmla="*/ 528419 h 1327954"/>
              <a:gd name="connsiteX2" fmla="*/ 1326105 w 1326105"/>
              <a:gd name="connsiteY2" fmla="*/ 1276011 h 1327954"/>
              <a:gd name="connsiteX3" fmla="*/ 1170834 w 1326105"/>
              <a:gd name="connsiteY3" fmla="*/ 1289239 h 1327954"/>
              <a:gd name="connsiteX4" fmla="*/ 771122 w 1326105"/>
              <a:gd name="connsiteY4" fmla="*/ 599449 h 1327954"/>
              <a:gd name="connsiteX5" fmla="*/ 796840 w 1326105"/>
              <a:gd name="connsiteY5" fmla="*/ 502703 h 1327954"/>
              <a:gd name="connsiteX6" fmla="*/ 823782 w 1326105"/>
              <a:gd name="connsiteY6" fmla="*/ 494129 h 1327954"/>
              <a:gd name="connsiteX7" fmla="*/ 62053 w 1326105"/>
              <a:gd name="connsiteY7" fmla="*/ 598 h 1327954"/>
              <a:gd name="connsiteX8" fmla="*/ 131858 w 1326105"/>
              <a:gd name="connsiteY8" fmla="*/ 34888 h 1327954"/>
              <a:gd name="connsiteX9" fmla="*/ 871615 w 1326105"/>
              <a:gd name="connsiteY9" fmla="*/ 1314729 h 1327954"/>
              <a:gd name="connsiteX10" fmla="*/ 716377 w 1326105"/>
              <a:gd name="connsiteY10" fmla="*/ 1327954 h 1327954"/>
              <a:gd name="connsiteX11" fmla="*/ 9393 w 1326105"/>
              <a:gd name="connsiteY11" fmla="*/ 105918 h 1327954"/>
              <a:gd name="connsiteX12" fmla="*/ 35111 w 1326105"/>
              <a:gd name="connsiteY12" fmla="*/ 9171 h 1327954"/>
              <a:gd name="connsiteX13" fmla="*/ 62053 w 1326105"/>
              <a:gd name="connsiteY13" fmla="*/ 598 h 1327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26105" h="1327954">
                <a:moveTo>
                  <a:pt x="823782" y="494129"/>
                </a:moveTo>
                <a:cubicBezTo>
                  <a:pt x="850724" y="490456"/>
                  <a:pt x="878891" y="503926"/>
                  <a:pt x="893587" y="528419"/>
                </a:cubicBezTo>
                <a:lnTo>
                  <a:pt x="1326105" y="1276011"/>
                </a:lnTo>
                <a:lnTo>
                  <a:pt x="1170834" y="1289239"/>
                </a:lnTo>
                <a:lnTo>
                  <a:pt x="771122" y="599449"/>
                </a:lnTo>
                <a:cubicBezTo>
                  <a:pt x="751528" y="565160"/>
                  <a:pt x="763773" y="522296"/>
                  <a:pt x="796840" y="502703"/>
                </a:cubicBezTo>
                <a:cubicBezTo>
                  <a:pt x="805411" y="497803"/>
                  <a:pt x="815209" y="495354"/>
                  <a:pt x="823782" y="494129"/>
                </a:cubicBezTo>
                <a:close/>
                <a:moveTo>
                  <a:pt x="62053" y="598"/>
                </a:moveTo>
                <a:cubicBezTo>
                  <a:pt x="88995" y="-3076"/>
                  <a:pt x="117162" y="10395"/>
                  <a:pt x="131858" y="34888"/>
                </a:cubicBezTo>
                <a:lnTo>
                  <a:pt x="871615" y="1314729"/>
                </a:lnTo>
                <a:lnTo>
                  <a:pt x="716377" y="1327954"/>
                </a:lnTo>
                <a:lnTo>
                  <a:pt x="9393" y="105918"/>
                </a:lnTo>
                <a:cubicBezTo>
                  <a:pt x="-10201" y="71627"/>
                  <a:pt x="2046" y="28765"/>
                  <a:pt x="35111" y="9171"/>
                </a:cubicBezTo>
                <a:cubicBezTo>
                  <a:pt x="43683" y="5497"/>
                  <a:pt x="52256" y="1823"/>
                  <a:pt x="62053" y="598"/>
                </a:cubicBezTo>
                <a:close/>
              </a:path>
            </a:pathLst>
          </a:custGeom>
          <a:solidFill>
            <a:schemeClr val="accent1"/>
          </a:solidFill>
          <a:ln w="1224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2" name="任意多边形: 形状 41">
            <a:extLst>
              <a:ext uri="{FF2B5EF4-FFF2-40B4-BE49-F238E27FC236}">
                <a16:creationId xmlns:a16="http://schemas.microsoft.com/office/drawing/2014/main" xmlns="" id="{722397EE-1B46-4D59-8023-33A16FD188F2}"/>
              </a:ext>
            </a:extLst>
          </p:cNvPr>
          <p:cNvSpPr/>
          <p:nvPr userDrawn="1"/>
        </p:nvSpPr>
        <p:spPr>
          <a:xfrm>
            <a:off x="5155368" y="1462175"/>
            <a:ext cx="7036633" cy="3322769"/>
          </a:xfrm>
          <a:custGeom>
            <a:avLst/>
            <a:gdLst>
              <a:gd name="connsiteX0" fmla="*/ 0 w 7036633"/>
              <a:gd name="connsiteY0" fmla="*/ 0 h 3322769"/>
              <a:gd name="connsiteX1" fmla="*/ 1888662 w 7036633"/>
              <a:gd name="connsiteY1" fmla="*/ 0 h 3322769"/>
              <a:gd name="connsiteX2" fmla="*/ 5508033 w 7036633"/>
              <a:gd name="connsiteY2" fmla="*/ 0 h 3322769"/>
              <a:gd name="connsiteX3" fmla="*/ 7036633 w 7036633"/>
              <a:gd name="connsiteY3" fmla="*/ 0 h 3322769"/>
              <a:gd name="connsiteX4" fmla="*/ 7036633 w 7036633"/>
              <a:gd name="connsiteY4" fmla="*/ 3322769 h 3322769"/>
              <a:gd name="connsiteX5" fmla="*/ 5508033 w 7036633"/>
              <a:gd name="connsiteY5" fmla="*/ 3322769 h 3322769"/>
              <a:gd name="connsiteX6" fmla="*/ 1888662 w 7036633"/>
              <a:gd name="connsiteY6" fmla="*/ 3322769 h 3322769"/>
              <a:gd name="connsiteX7" fmla="*/ 1861942 w 7036633"/>
              <a:gd name="connsiteY7" fmla="*/ 3322769 h 3322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36633" h="3322769">
                <a:moveTo>
                  <a:pt x="0" y="0"/>
                </a:moveTo>
                <a:lnTo>
                  <a:pt x="1888662" y="0"/>
                </a:lnTo>
                <a:lnTo>
                  <a:pt x="5508033" y="0"/>
                </a:lnTo>
                <a:lnTo>
                  <a:pt x="7036633" y="0"/>
                </a:lnTo>
                <a:lnTo>
                  <a:pt x="7036633" y="3322769"/>
                </a:lnTo>
                <a:lnTo>
                  <a:pt x="5508033" y="3322769"/>
                </a:lnTo>
                <a:lnTo>
                  <a:pt x="1888662" y="3322769"/>
                </a:lnTo>
                <a:lnTo>
                  <a:pt x="1861942" y="3322769"/>
                </a:lnTo>
                <a:close/>
              </a:path>
            </a:pathLst>
          </a:cu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xmlns="" id="{8CB6C888-C368-4B4D-B6DF-F885839E6082}"/>
              </a:ext>
            </a:extLst>
          </p:cNvPr>
          <p:cNvSpPr/>
          <p:nvPr userDrawn="1"/>
        </p:nvSpPr>
        <p:spPr>
          <a:xfrm>
            <a:off x="3515351" y="711200"/>
            <a:ext cx="3503186" cy="4075938"/>
          </a:xfrm>
          <a:custGeom>
            <a:avLst/>
            <a:gdLst>
              <a:gd name="connsiteX0" fmla="*/ 0 w 3503186"/>
              <a:gd name="connsiteY0" fmla="*/ 0 h 4075938"/>
              <a:gd name="connsiteX1" fmla="*/ 1219200 w 3503186"/>
              <a:gd name="connsiteY1" fmla="*/ 0 h 4075938"/>
              <a:gd name="connsiteX2" fmla="*/ 3503186 w 3503186"/>
              <a:gd name="connsiteY2" fmla="*/ 4075938 h 4075938"/>
              <a:gd name="connsiteX3" fmla="*/ 2283986 w 3503186"/>
              <a:gd name="connsiteY3" fmla="*/ 4075938 h 4075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3186" h="4075938">
                <a:moveTo>
                  <a:pt x="0" y="0"/>
                </a:moveTo>
                <a:lnTo>
                  <a:pt x="1219200" y="0"/>
                </a:lnTo>
                <a:lnTo>
                  <a:pt x="3503186" y="4075938"/>
                </a:lnTo>
                <a:lnTo>
                  <a:pt x="2283986" y="407593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 dirty="0">
              <a:solidFill>
                <a:srgbClr val="000000"/>
              </a:solidFill>
            </a:endParaRPr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0718" y="4198723"/>
            <a:ext cx="10850563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>
            <p:ph type="ctrTitle"/>
          </p:nvPr>
        </p:nvSpPr>
        <p:spPr>
          <a:xfrm>
            <a:off x="670718" y="1253273"/>
            <a:ext cx="10850563" cy="2945450"/>
          </a:xfr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345939" y="5386788"/>
            <a:ext cx="517455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345939" y="5683059"/>
            <a:ext cx="517455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xmlns="" id="{E97F587D-D75D-4A24-AE8A-BC365E49382D}"/>
              </a:ext>
            </a:extLst>
          </p:cNvPr>
          <p:cNvSpPr/>
          <p:nvPr userDrawn="1"/>
        </p:nvSpPr>
        <p:spPr>
          <a:xfrm rot="292154">
            <a:off x="9126227" y="13973"/>
            <a:ext cx="1711524" cy="1994582"/>
          </a:xfrm>
          <a:custGeom>
            <a:avLst/>
            <a:gdLst>
              <a:gd name="connsiteX0" fmla="*/ 455195 w 1711524"/>
              <a:gd name="connsiteY0" fmla="*/ 13225 h 1994582"/>
              <a:gd name="connsiteX1" fmla="*/ 610432 w 1711524"/>
              <a:gd name="connsiteY1" fmla="*/ 0 h 1994582"/>
              <a:gd name="connsiteX2" fmla="*/ 1702131 w 1711524"/>
              <a:gd name="connsiteY2" fmla="*/ 1888442 h 1994582"/>
              <a:gd name="connsiteX3" fmla="*/ 1676414 w 1711524"/>
              <a:gd name="connsiteY3" fmla="*/ 1985189 h 1994582"/>
              <a:gd name="connsiteX4" fmla="*/ 1579666 w 1711524"/>
              <a:gd name="connsiteY4" fmla="*/ 1959471 h 1994582"/>
              <a:gd name="connsiteX5" fmla="*/ 0 w 1711524"/>
              <a:gd name="connsiteY5" fmla="*/ 52002 h 1994582"/>
              <a:gd name="connsiteX6" fmla="*/ 155252 w 1711524"/>
              <a:gd name="connsiteY6" fmla="*/ 38776 h 1994582"/>
              <a:gd name="connsiteX7" fmla="*/ 940403 w 1711524"/>
              <a:gd name="connsiteY7" fmla="*/ 1396136 h 1994582"/>
              <a:gd name="connsiteX8" fmla="*/ 914685 w 1711524"/>
              <a:gd name="connsiteY8" fmla="*/ 1492882 h 1994582"/>
              <a:gd name="connsiteX9" fmla="*/ 817938 w 1711524"/>
              <a:gd name="connsiteY9" fmla="*/ 1467165 h 1994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1524" h="1994582">
                <a:moveTo>
                  <a:pt x="455195" y="13225"/>
                </a:moveTo>
                <a:lnTo>
                  <a:pt x="610432" y="0"/>
                </a:lnTo>
                <a:lnTo>
                  <a:pt x="1702131" y="1888442"/>
                </a:lnTo>
                <a:cubicBezTo>
                  <a:pt x="1721725" y="1922732"/>
                  <a:pt x="1709479" y="1965595"/>
                  <a:pt x="1676414" y="1985189"/>
                </a:cubicBezTo>
                <a:cubicBezTo>
                  <a:pt x="1642123" y="2004783"/>
                  <a:pt x="1599261" y="1992537"/>
                  <a:pt x="1579666" y="1959471"/>
                </a:cubicBezTo>
                <a:close/>
                <a:moveTo>
                  <a:pt x="0" y="52002"/>
                </a:moveTo>
                <a:lnTo>
                  <a:pt x="155252" y="38776"/>
                </a:lnTo>
                <a:lnTo>
                  <a:pt x="940403" y="1396136"/>
                </a:lnTo>
                <a:cubicBezTo>
                  <a:pt x="959997" y="1430426"/>
                  <a:pt x="947751" y="1473288"/>
                  <a:pt x="914685" y="1492882"/>
                </a:cubicBezTo>
                <a:cubicBezTo>
                  <a:pt x="880396" y="1512477"/>
                  <a:pt x="837533" y="1500230"/>
                  <a:pt x="817938" y="1467165"/>
                </a:cubicBezTo>
                <a:close/>
              </a:path>
            </a:pathLst>
          </a:custGeom>
          <a:solidFill>
            <a:schemeClr val="accent1"/>
          </a:solidFill>
          <a:ln w="1224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6561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xmlns="" id="{E06B80F0-B3A4-4591-A31C-C7085422BFF0}"/>
              </a:ext>
            </a:extLst>
          </p:cNvPr>
          <p:cNvGrpSpPr/>
          <p:nvPr userDrawn="1"/>
        </p:nvGrpSpPr>
        <p:grpSpPr>
          <a:xfrm>
            <a:off x="-4475" y="711200"/>
            <a:ext cx="12196476" cy="6146800"/>
            <a:chOff x="-4475" y="711200"/>
            <a:chExt cx="12196476" cy="6146800"/>
          </a:xfrm>
        </p:grpSpPr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xmlns="" id="{74282363-1050-4C04-8816-EB6634A0BB64}"/>
                </a:ext>
              </a:extLst>
            </p:cNvPr>
            <p:cNvSpPr/>
            <p:nvPr userDrawn="1"/>
          </p:nvSpPr>
          <p:spPr>
            <a:xfrm flipH="1">
              <a:off x="-4475" y="711200"/>
              <a:ext cx="5174550" cy="6146800"/>
            </a:xfrm>
            <a:custGeom>
              <a:avLst/>
              <a:gdLst>
                <a:gd name="connsiteX0" fmla="*/ 1730139 w 5174550"/>
                <a:gd name="connsiteY0" fmla="*/ 0 h 6146800"/>
                <a:gd name="connsiteX1" fmla="*/ 785190 w 5174550"/>
                <a:gd name="connsiteY1" fmla="*/ 0 h 6146800"/>
                <a:gd name="connsiteX2" fmla="*/ 510939 w 5174550"/>
                <a:gd name="connsiteY2" fmla="*/ 0 h 6146800"/>
                <a:gd name="connsiteX3" fmla="*/ 434009 w 5174550"/>
                <a:gd name="connsiteY3" fmla="*/ 0 h 6146800"/>
                <a:gd name="connsiteX4" fmla="*/ 0 w 5174550"/>
                <a:gd name="connsiteY4" fmla="*/ 774522 h 6146800"/>
                <a:gd name="connsiteX5" fmla="*/ 3010401 w 5174550"/>
                <a:gd name="connsiteY5" fmla="*/ 6146800 h 6146800"/>
                <a:gd name="connsiteX6" fmla="*/ 3955350 w 5174550"/>
                <a:gd name="connsiteY6" fmla="*/ 6146800 h 6146800"/>
                <a:gd name="connsiteX7" fmla="*/ 4229601 w 5174550"/>
                <a:gd name="connsiteY7" fmla="*/ 6146800 h 6146800"/>
                <a:gd name="connsiteX8" fmla="*/ 5174550 w 5174550"/>
                <a:gd name="connsiteY8" fmla="*/ 6146800 h 614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74550" h="6146800">
                  <a:moveTo>
                    <a:pt x="1730139" y="0"/>
                  </a:moveTo>
                  <a:lnTo>
                    <a:pt x="785190" y="0"/>
                  </a:lnTo>
                  <a:lnTo>
                    <a:pt x="510939" y="0"/>
                  </a:lnTo>
                  <a:lnTo>
                    <a:pt x="434009" y="0"/>
                  </a:lnTo>
                  <a:lnTo>
                    <a:pt x="0" y="774522"/>
                  </a:lnTo>
                  <a:lnTo>
                    <a:pt x="3010401" y="6146800"/>
                  </a:lnTo>
                  <a:lnTo>
                    <a:pt x="3955350" y="6146800"/>
                  </a:lnTo>
                  <a:lnTo>
                    <a:pt x="4229601" y="6146800"/>
                  </a:lnTo>
                  <a:lnTo>
                    <a:pt x="5174550" y="6146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 dirty="0"/>
            </a:p>
          </p:txBody>
        </p:sp>
        <p:sp>
          <p:nvSpPr>
            <p:cNvPr id="10" name="Rectangle 2_2">
              <a:extLst>
                <a:ext uri="{FF2B5EF4-FFF2-40B4-BE49-F238E27FC236}">
                  <a16:creationId xmlns:a16="http://schemas.microsoft.com/office/drawing/2014/main" xmlns="" id="{FCBF4AA6-C61D-4EA2-A4B7-F78556734AAE}"/>
                </a:ext>
              </a:extLst>
            </p:cNvPr>
            <p:cNvSpPr/>
            <p:nvPr userDrawn="1"/>
          </p:nvSpPr>
          <p:spPr>
            <a:xfrm>
              <a:off x="0" y="1462175"/>
              <a:ext cx="12192000" cy="3322769"/>
            </a:xfrm>
            <a:prstGeom prst="rect">
              <a:avLst/>
            </a:prstGeom>
            <a:blipFill>
              <a:blip r:embed="rId2"/>
              <a:stretch>
                <a:fillRect t="-225861" b="-224141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xmlns="" id="{9F002836-03E3-4C94-AEA6-2407AC42F847}"/>
                </a:ext>
              </a:extLst>
            </p:cNvPr>
            <p:cNvSpPr/>
            <p:nvPr userDrawn="1"/>
          </p:nvSpPr>
          <p:spPr>
            <a:xfrm>
              <a:off x="5155368" y="1462175"/>
              <a:ext cx="7036633" cy="3322769"/>
            </a:xfrm>
            <a:custGeom>
              <a:avLst/>
              <a:gdLst>
                <a:gd name="connsiteX0" fmla="*/ 0 w 7036633"/>
                <a:gd name="connsiteY0" fmla="*/ 0 h 3322769"/>
                <a:gd name="connsiteX1" fmla="*/ 1888662 w 7036633"/>
                <a:gd name="connsiteY1" fmla="*/ 0 h 3322769"/>
                <a:gd name="connsiteX2" fmla="*/ 5508033 w 7036633"/>
                <a:gd name="connsiteY2" fmla="*/ 0 h 3322769"/>
                <a:gd name="connsiteX3" fmla="*/ 7036633 w 7036633"/>
                <a:gd name="connsiteY3" fmla="*/ 0 h 3322769"/>
                <a:gd name="connsiteX4" fmla="*/ 7036633 w 7036633"/>
                <a:gd name="connsiteY4" fmla="*/ 3322769 h 3322769"/>
                <a:gd name="connsiteX5" fmla="*/ 5508033 w 7036633"/>
                <a:gd name="connsiteY5" fmla="*/ 3322769 h 3322769"/>
                <a:gd name="connsiteX6" fmla="*/ 1888662 w 7036633"/>
                <a:gd name="connsiteY6" fmla="*/ 3322769 h 3322769"/>
                <a:gd name="connsiteX7" fmla="*/ 1861942 w 7036633"/>
                <a:gd name="connsiteY7" fmla="*/ 3322769 h 3322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36633" h="3322769">
                  <a:moveTo>
                    <a:pt x="0" y="0"/>
                  </a:moveTo>
                  <a:lnTo>
                    <a:pt x="1888662" y="0"/>
                  </a:lnTo>
                  <a:lnTo>
                    <a:pt x="5508033" y="0"/>
                  </a:lnTo>
                  <a:lnTo>
                    <a:pt x="7036633" y="0"/>
                  </a:lnTo>
                  <a:lnTo>
                    <a:pt x="7036633" y="3322769"/>
                  </a:lnTo>
                  <a:lnTo>
                    <a:pt x="5508033" y="3322769"/>
                  </a:lnTo>
                  <a:lnTo>
                    <a:pt x="1888662" y="3322769"/>
                  </a:lnTo>
                  <a:lnTo>
                    <a:pt x="1861942" y="3322769"/>
                  </a:lnTo>
                  <a:close/>
                </a:path>
              </a:pathLst>
            </a:custGeom>
            <a:solidFill>
              <a:schemeClr val="tx1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xmlns="" id="{FF6CB9C7-C49E-4EC1-9C18-CB671ACE6AE1}"/>
                </a:ext>
              </a:extLst>
            </p:cNvPr>
            <p:cNvSpPr/>
            <p:nvPr userDrawn="1"/>
          </p:nvSpPr>
          <p:spPr>
            <a:xfrm>
              <a:off x="3515351" y="711200"/>
              <a:ext cx="3503186" cy="4075938"/>
            </a:xfrm>
            <a:custGeom>
              <a:avLst/>
              <a:gdLst>
                <a:gd name="connsiteX0" fmla="*/ 0 w 3503186"/>
                <a:gd name="connsiteY0" fmla="*/ 0 h 4075938"/>
                <a:gd name="connsiteX1" fmla="*/ 1219200 w 3503186"/>
                <a:gd name="connsiteY1" fmla="*/ 0 h 4075938"/>
                <a:gd name="connsiteX2" fmla="*/ 3503186 w 3503186"/>
                <a:gd name="connsiteY2" fmla="*/ 4075938 h 4075938"/>
                <a:gd name="connsiteX3" fmla="*/ 2283986 w 3503186"/>
                <a:gd name="connsiteY3" fmla="*/ 4075938 h 4075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3186" h="4075938">
                  <a:moveTo>
                    <a:pt x="0" y="0"/>
                  </a:moveTo>
                  <a:lnTo>
                    <a:pt x="1219200" y="0"/>
                  </a:lnTo>
                  <a:lnTo>
                    <a:pt x="3503186" y="4075938"/>
                  </a:lnTo>
                  <a:lnTo>
                    <a:pt x="2283986" y="407593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 dirty="0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464300" y="1582058"/>
            <a:ext cx="5056981" cy="2364686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629523" y="4386848"/>
            <a:ext cx="389175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7629525" y="4090577"/>
            <a:ext cx="389175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4257315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09737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en-US" altLang="zh-CN" smtClean="0"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817124909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2_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/>
          </p:nvPr>
        </p:nvSpPr>
        <p:spPr>
          <a:xfrm>
            <a:off x="609600" y="274638"/>
            <a:ext cx="10972800" cy="531495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grpSp>
        <p:nvGrpSpPr>
          <p:cNvPr id="7" name="组合 2"/>
          <p:cNvGrpSpPr/>
          <p:nvPr userDrawn="1"/>
        </p:nvGrpSpPr>
        <p:grpSpPr>
          <a:xfrm>
            <a:off x="0" y="679743"/>
            <a:ext cx="12192000" cy="60959"/>
            <a:chOff x="285720" y="998520"/>
            <a:chExt cx="8429684" cy="73026"/>
          </a:xfrm>
        </p:grpSpPr>
        <p:cxnSp>
          <p:nvCxnSpPr>
            <p:cNvPr id="8" name="直接连接符 7"/>
            <p:cNvCxnSpPr/>
            <p:nvPr/>
          </p:nvCxnSpPr>
          <p:spPr>
            <a:xfrm>
              <a:off x="285720" y="998520"/>
              <a:ext cx="8429684" cy="1588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" name="直接连接符 8"/>
            <p:cNvCxnSpPr/>
            <p:nvPr/>
          </p:nvCxnSpPr>
          <p:spPr>
            <a:xfrm>
              <a:off x="285720" y="1069958"/>
              <a:ext cx="8429684" cy="1588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0" name="矩形 9">
            <a:extLst>
              <a:ext uri="{FF2B5EF4-FFF2-40B4-BE49-F238E27FC236}">
                <a16:creationId xmlns:a16="http://schemas.microsoft.com/office/drawing/2014/main" xmlns="" id="{626F3D86-D6A5-4DD0-99B5-B4BE9AE16878}"/>
              </a:ext>
            </a:extLst>
          </p:cNvPr>
          <p:cNvSpPr/>
          <p:nvPr userDrawn="1"/>
        </p:nvSpPr>
        <p:spPr>
          <a:xfrm>
            <a:off x="11884121" y="6060525"/>
            <a:ext cx="307879" cy="1107990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indent="0" algn="l" defTabSz="325111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6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3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  <a:prstGeom prst="rect">
            <a:avLst/>
          </a:prstGeom>
        </p:spPr>
        <p:txBody>
          <a:bodyPr/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36213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xmlns="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800" y="451016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1" y="4092559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1" y="2617296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1934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48DE95B4-AE0C-7EEC-4C08-E3F3FC75B621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4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xmlns="" id="{A5A449F4-9A94-8C4C-4BB5-56A0788520E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C61C9440-2E33-5BEB-02DF-A72A9F978542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FFFFFF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1642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E9319D93-67E5-3125-DE64-EF38FC49176D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5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xmlns="" id="{49DCFADA-E657-B5E1-FD02-3EAE71B0B1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xmlns="" id="{6FB2DC48-2E93-B5D0-AE24-7D15D595E22D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70132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FE344FE-1712-3FFF-06CE-C147066E9773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6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xmlns="" id="{84CD5428-F77F-F979-825C-E800A8F606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xmlns="" id="{A2104ED9-280F-79FF-2AD0-B60FA9277C17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54841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70D9E999-82D5-ED7E-3EBD-A8B9A6F5C161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5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xmlns="" id="{AEC97D98-7F65-AB3D-9AF6-276DAA7102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xmlns="" id="{7D0D1C03-9540-24DB-8636-D0DF1E638050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5146599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9.xml"/><Relationship Id="rId34" Type="http://schemas.openxmlformats.org/officeDocument/2006/relationships/image" Target="../media/image2.emf"/><Relationship Id="rId7" Type="http://schemas.openxmlformats.org/officeDocument/2006/relationships/slideLayout" Target="../slideLayouts/slideLayout11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tags" Target="../tags/tag17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theme" Target="../theme/theme2.xml"/><Relationship Id="rId24" Type="http://schemas.openxmlformats.org/officeDocument/2006/relationships/tags" Target="../tags/tag12.xml"/><Relationship Id="rId32" Type="http://schemas.openxmlformats.org/officeDocument/2006/relationships/tags" Target="../tags/tag20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4.xml"/><Relationship Id="rId19" Type="http://schemas.openxmlformats.org/officeDocument/2006/relationships/tags" Target="../tags/tag7.xml"/><Relationship Id="rId31" Type="http://schemas.openxmlformats.org/officeDocument/2006/relationships/tags" Target="../tags/tag19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tags" Target="../tags/tag18.xml"/><Relationship Id="rId8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6" descr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32438" y="6245667"/>
            <a:ext cx="1824205" cy="4192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5" name="组合 2"/>
          <p:cNvGrpSpPr/>
          <p:nvPr/>
        </p:nvGrpSpPr>
        <p:grpSpPr>
          <a:xfrm>
            <a:off x="-3" y="679743"/>
            <a:ext cx="12192004" cy="60960"/>
            <a:chOff x="-1" y="0"/>
            <a:chExt cx="9144002" cy="45719"/>
          </a:xfrm>
        </p:grpSpPr>
        <p:sp>
          <p:nvSpPr>
            <p:cNvPr id="3" name="直接连接符 14"/>
            <p:cNvSpPr/>
            <p:nvPr/>
          </p:nvSpPr>
          <p:spPr>
            <a:xfrm>
              <a:off x="-2" y="0"/>
              <a:ext cx="9144003" cy="995"/>
            </a:xfrm>
            <a:prstGeom prst="line">
              <a:avLst/>
            </a:prstGeom>
            <a:noFill/>
            <a:ln w="19050" cap="flat">
              <a:solidFill>
                <a:srgbClr val="C00000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45718" tIns="45718" rIns="45718" bIns="45718" numCol="1" anchor="t">
              <a:noAutofit/>
            </a:bodyPr>
            <a:lstStyle/>
            <a:p>
              <a:endParaRPr sz="2400"/>
            </a:p>
          </p:txBody>
        </p:sp>
        <p:sp>
          <p:nvSpPr>
            <p:cNvPr id="4" name="直接连接符 15"/>
            <p:cNvSpPr/>
            <p:nvPr/>
          </p:nvSpPr>
          <p:spPr>
            <a:xfrm>
              <a:off x="-2" y="44725"/>
              <a:ext cx="9144003" cy="995"/>
            </a:xfrm>
            <a:prstGeom prst="line">
              <a:avLst/>
            </a:prstGeom>
            <a:noFill/>
            <a:ln w="19050" cap="flat">
              <a:solidFill>
                <a:srgbClr val="C00000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45718" tIns="45718" rIns="45718" bIns="45718" numCol="1" anchor="t">
              <a:noAutofit/>
            </a:bodyPr>
            <a:lstStyle/>
            <a:p>
              <a:endParaRPr sz="2400"/>
            </a:p>
          </p:txBody>
        </p:sp>
      </p:grpSp>
      <p:sp>
        <p:nvSpPr>
          <p:cNvPr id="6" name="正文级别 1…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7" name="标题文本"/>
          <p:cNvSpPr txBox="1">
            <a:spLocks noGrp="1"/>
          </p:cNvSpPr>
          <p:nvPr>
            <p:ph type="title"/>
          </p:nvPr>
        </p:nvSpPr>
        <p:spPr>
          <a:xfrm>
            <a:off x="1826684" y="1371600"/>
            <a:ext cx="9753601" cy="4651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t>标题文本</a:t>
            </a:r>
          </a:p>
        </p:txBody>
      </p:sp>
      <p:sp>
        <p:nvSpPr>
          <p:cNvPr id="8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5570102" y="6309319"/>
            <a:ext cx="440213" cy="417855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>
            <a:spAutoFit/>
          </a:bodyPr>
          <a:lstStyle>
            <a:lvl1pPr algn="ctr">
              <a:defRPr sz="2133"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t>‹#›</a:t>
            </a:fld>
            <a:endParaRPr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xmlns="" id="{0C8A2F2A-3C72-7804-2092-3D4551300A51}"/>
              </a:ext>
            </a:extLst>
          </p:cNvPr>
          <p:cNvSpPr/>
          <p:nvPr userDrawn="1"/>
        </p:nvSpPr>
        <p:spPr>
          <a:xfrm>
            <a:off x="11884121" y="6060525"/>
            <a:ext cx="307879" cy="1107990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indent="0" algn="l" defTabSz="325111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6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xmlns="" id="{C0BE011F-3B26-B913-81F3-DADAC585866A}"/>
              </a:ext>
            </a:extLst>
          </p:cNvPr>
          <p:cNvSpPr txBox="1">
            <a:spLocks/>
          </p:cNvSpPr>
          <p:nvPr userDrawn="1"/>
        </p:nvSpPr>
        <p:spPr>
          <a:xfrm>
            <a:off x="11844715" y="6371039"/>
            <a:ext cx="373175" cy="369327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1pPr>
            <a:lvl2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0C913308-F349-4B6D-A68A-DD1791B4A57B}" type="slidenum">
              <a:rPr lang="zh-CN" altLang="en-US" sz="1600" smtClean="0"/>
              <a:pPr/>
              <a:t>‹#›</a:t>
            </a:fld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202023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4" r:id="rId2"/>
    <p:sldLayoutId id="2147483665" r:id="rId3"/>
    <p:sldLayoutId id="2147483688" r:id="rId4"/>
  </p:sldLayoutIdLst>
  <p:transition spd="med"/>
  <p:hf hdr="0" ftr="0" dt="0"/>
  <p:txStyles>
    <p:titleStyle>
      <a:lvl1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457189" marR="0" indent="-457189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045002" marR="0" indent="-435417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–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625559" marR="0" indent="-406390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2316422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–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926007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»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3535592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4145176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4754760" marR="0" indent="-487666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5364345" marR="0" indent="-487666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33" imgW="413" imgH="416" progId="TCLayout.ActiveDocument.1">
                  <p:embed/>
                </p:oleObj>
              </mc:Choice>
              <mc:Fallback>
                <p:oleObj name="think-cell Slide" r:id="rId3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5B28737-798E-48D4-BBDB-8EB35CB9FFFB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>
          <a:xfrm>
            <a:off x="554736" y="172212"/>
            <a:ext cx="9121699" cy="54541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xmlns="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xmlns="" id="{62CF7362-20CB-4908-AFFE-D4E2B9A5DF3B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 err="1">
                <a:solidFill>
                  <a:srgbClr val="000000"/>
                </a:solidFill>
              </a:rPr>
              <a:t>AboveChartExhibitTitle</a:t>
            </a:r>
            <a:endParaRPr lang="en-US" dirty="0">
              <a:solidFill>
                <a:srgbClr val="000000"/>
              </a:solidFill>
            </a:endParaRPr>
          </a:p>
          <a:p>
            <a:r>
              <a:rPr lang="en-US" b="0" dirty="0" err="1">
                <a:solidFill>
                  <a:srgbClr val="000000"/>
                </a:solidFill>
              </a:rPr>
              <a:t>UnitofMeasure</a:t>
            </a: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LegendLines" hidden="1">
            <a:extLst>
              <a:ext uri="{FF2B5EF4-FFF2-40B4-BE49-F238E27FC236}">
                <a16:creationId xmlns:a16="http://schemas.microsoft.com/office/drawing/2014/main" xmlns="" id="{13057103-D115-DADA-2EB0-0FCD59AB2391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8" name="Legend1" hidden="1">
              <a:extLst>
                <a:ext uri="{FF2B5EF4-FFF2-40B4-BE49-F238E27FC236}">
                  <a16:creationId xmlns:a16="http://schemas.microsoft.com/office/drawing/2014/main" xmlns="" id="{E40D27A3-1978-B2BA-3C27-66E19A7F7894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9" name="Legend2" hidden="1">
              <a:extLst>
                <a:ext uri="{FF2B5EF4-FFF2-40B4-BE49-F238E27FC236}">
                  <a16:creationId xmlns:a16="http://schemas.microsoft.com/office/drawing/2014/main" xmlns="" id="{FD94417F-B0A4-94B9-111E-0C392E9AACA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" name="Legend3" hidden="1">
              <a:extLst>
                <a:ext uri="{FF2B5EF4-FFF2-40B4-BE49-F238E27FC236}">
                  <a16:creationId xmlns:a16="http://schemas.microsoft.com/office/drawing/2014/main" xmlns="" id="{39A3A972-E563-B79B-BADB-8F3B17730D90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1" name="LineLegend3" hidden="1">
              <a:extLst>
                <a:ext uri="{FF2B5EF4-FFF2-40B4-BE49-F238E27FC236}">
                  <a16:creationId xmlns:a16="http://schemas.microsoft.com/office/drawing/2014/main" xmlns="" id="{6F3943BA-41BD-9DDA-0BFB-43336609183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2" name="LineLegend2" hidden="1">
              <a:extLst>
                <a:ext uri="{FF2B5EF4-FFF2-40B4-BE49-F238E27FC236}">
                  <a16:creationId xmlns:a16="http://schemas.microsoft.com/office/drawing/2014/main" xmlns="" id="{AE8AB6FF-872C-5D81-8C7B-176A9AAE8E2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3" name="LineLegend1" hidden="1">
              <a:extLst>
                <a:ext uri="{FF2B5EF4-FFF2-40B4-BE49-F238E27FC236}">
                  <a16:creationId xmlns:a16="http://schemas.microsoft.com/office/drawing/2014/main" xmlns="" id="{AC4D128D-6CEA-3945-3844-F5AAE1B1687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" name="LegendMoons" hidden="1">
            <a:extLst>
              <a:ext uri="{FF2B5EF4-FFF2-40B4-BE49-F238E27FC236}">
                <a16:creationId xmlns:a16="http://schemas.microsoft.com/office/drawing/2014/main" xmlns="" id="{3371E374-0BA4-5B34-0757-CFCCD235A60F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5" name="Legend1" hidden="1">
              <a:extLst>
                <a:ext uri="{FF2B5EF4-FFF2-40B4-BE49-F238E27FC236}">
                  <a16:creationId xmlns:a16="http://schemas.microsoft.com/office/drawing/2014/main" xmlns="" id="{756BFF61-0575-9FA8-E44E-360FD7B1F6CF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Legend2" hidden="1">
              <a:extLst>
                <a:ext uri="{FF2B5EF4-FFF2-40B4-BE49-F238E27FC236}">
                  <a16:creationId xmlns:a16="http://schemas.microsoft.com/office/drawing/2014/main" xmlns="" id="{DEFD1EC6-663F-2BA2-0DF6-3756FCE6888D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Legend3" hidden="1">
              <a:extLst>
                <a:ext uri="{FF2B5EF4-FFF2-40B4-BE49-F238E27FC236}">
                  <a16:creationId xmlns:a16="http://schemas.microsoft.com/office/drawing/2014/main" xmlns="" id="{001274AD-256D-2E4A-613A-50A341751E74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4" hidden="1">
              <a:extLst>
                <a:ext uri="{FF2B5EF4-FFF2-40B4-BE49-F238E27FC236}">
                  <a16:creationId xmlns:a16="http://schemas.microsoft.com/office/drawing/2014/main" xmlns="" id="{6D9DC179-B308-2F79-8255-CB9BD67BE615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Legend5" hidden="1">
              <a:extLst>
                <a:ext uri="{FF2B5EF4-FFF2-40B4-BE49-F238E27FC236}">
                  <a16:creationId xmlns:a16="http://schemas.microsoft.com/office/drawing/2014/main" xmlns="" id="{5C9EBC3F-1C5A-EBC4-7D40-320412B4A9E4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grpSp>
          <p:nvGrpSpPr>
            <p:cNvPr id="21" name="MoonLegend1" hidden="1">
              <a:extLst>
                <a:ext uri="{FF2B5EF4-FFF2-40B4-BE49-F238E27FC236}">
                  <a16:creationId xmlns:a16="http://schemas.microsoft.com/office/drawing/2014/main" xmlns="" id="{049C7414-BE95-0191-B349-1615B80842B3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4" name="Oval 33" hidden="1">
                <a:extLst>
                  <a:ext uri="{FF2B5EF4-FFF2-40B4-BE49-F238E27FC236}">
                    <a16:creationId xmlns:a16="http://schemas.microsoft.com/office/drawing/2014/main" xmlns="" id="{BEB9D1A0-FA07-9C2B-3185-AEA748F773F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Arc 34" hidden="1">
                <a:extLst>
                  <a:ext uri="{FF2B5EF4-FFF2-40B4-BE49-F238E27FC236}">
                    <a16:creationId xmlns:a16="http://schemas.microsoft.com/office/drawing/2014/main" xmlns="" id="{95AC73D0-BB80-C586-8704-4CFB89103A6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MoonLegend2" hidden="1">
              <a:extLst>
                <a:ext uri="{FF2B5EF4-FFF2-40B4-BE49-F238E27FC236}">
                  <a16:creationId xmlns:a16="http://schemas.microsoft.com/office/drawing/2014/main" xmlns="" id="{727AAED1-383E-4C4A-DF0C-0BF7A02D8948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2" name="Oval 31" hidden="1">
                <a:extLst>
                  <a:ext uri="{FF2B5EF4-FFF2-40B4-BE49-F238E27FC236}">
                    <a16:creationId xmlns:a16="http://schemas.microsoft.com/office/drawing/2014/main" xmlns="" id="{D018C4B7-86A0-3B18-C221-FFEC7E84E54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Arc 32" hidden="1">
                <a:extLst>
                  <a:ext uri="{FF2B5EF4-FFF2-40B4-BE49-F238E27FC236}">
                    <a16:creationId xmlns:a16="http://schemas.microsoft.com/office/drawing/2014/main" xmlns="" id="{FD435453-8EFE-2A6C-3650-15040DB209D1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3" name="MoonLegend3" hidden="1">
              <a:extLst>
                <a:ext uri="{FF2B5EF4-FFF2-40B4-BE49-F238E27FC236}">
                  <a16:creationId xmlns:a16="http://schemas.microsoft.com/office/drawing/2014/main" xmlns="" id="{1CC33BAC-DE32-D2A0-4AD9-F923A9CB60A5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" name="Oval 29" hidden="1">
                <a:extLst>
                  <a:ext uri="{FF2B5EF4-FFF2-40B4-BE49-F238E27FC236}">
                    <a16:creationId xmlns:a16="http://schemas.microsoft.com/office/drawing/2014/main" xmlns="" id="{6E33E2B0-FC0B-B53A-8A62-4CC1A84A9B70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Arc 30" hidden="1">
                <a:extLst>
                  <a:ext uri="{FF2B5EF4-FFF2-40B4-BE49-F238E27FC236}">
                    <a16:creationId xmlns:a16="http://schemas.microsoft.com/office/drawing/2014/main" xmlns="" id="{A545051D-4B10-B9D8-6C55-A2364F0F90CF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4" name="MoonLegend4" hidden="1">
              <a:extLst>
                <a:ext uri="{FF2B5EF4-FFF2-40B4-BE49-F238E27FC236}">
                  <a16:creationId xmlns:a16="http://schemas.microsoft.com/office/drawing/2014/main" xmlns="" id="{379404D8-D7C1-5751-C53C-AD85305E529D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8" name="Oval 27" hidden="1">
                <a:extLst>
                  <a:ext uri="{FF2B5EF4-FFF2-40B4-BE49-F238E27FC236}">
                    <a16:creationId xmlns:a16="http://schemas.microsoft.com/office/drawing/2014/main" xmlns="" id="{FBA4E0A2-7BE8-8927-DEBA-9ED5E9CDD7CB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Arc 28" hidden="1">
                <a:extLst>
                  <a:ext uri="{FF2B5EF4-FFF2-40B4-BE49-F238E27FC236}">
                    <a16:creationId xmlns:a16="http://schemas.microsoft.com/office/drawing/2014/main" xmlns="" id="{E1DC12A8-1993-A2C7-9737-76BD7881BAE2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5" name="MoonLegend5" hidden="1">
              <a:extLst>
                <a:ext uri="{FF2B5EF4-FFF2-40B4-BE49-F238E27FC236}">
                  <a16:creationId xmlns:a16="http://schemas.microsoft.com/office/drawing/2014/main" xmlns="" id="{0F48F81E-C38C-8B4D-B09D-BBEB9CD13CDE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6" name="Oval 25" hidden="1">
                <a:extLst>
                  <a:ext uri="{FF2B5EF4-FFF2-40B4-BE49-F238E27FC236}">
                    <a16:creationId xmlns:a16="http://schemas.microsoft.com/office/drawing/2014/main" xmlns="" id="{1E84E310-6B41-86BA-63F9-CC514DF7C1F2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Arc 26" hidden="1">
                <a:extLst>
                  <a:ext uri="{FF2B5EF4-FFF2-40B4-BE49-F238E27FC236}">
                    <a16:creationId xmlns:a16="http://schemas.microsoft.com/office/drawing/2014/main" xmlns="" id="{1DB782AB-D0B5-CA20-6A2A-1A5B028C33AD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36" name="LegendBoxes" hidden="1">
            <a:extLst>
              <a:ext uri="{FF2B5EF4-FFF2-40B4-BE49-F238E27FC236}">
                <a16:creationId xmlns:a16="http://schemas.microsoft.com/office/drawing/2014/main" xmlns="" id="{118ED783-9E8B-2463-AF07-BF6B2F41FC33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37" name="RectangleLegend1" hidden="1">
              <a:extLst>
                <a:ext uri="{FF2B5EF4-FFF2-40B4-BE49-F238E27FC236}">
                  <a16:creationId xmlns:a16="http://schemas.microsoft.com/office/drawing/2014/main" xmlns="" id="{F441E6F5-13B9-B8AC-F77E-5982D9E6A57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38" name="RectangleLegend2" hidden="1">
              <a:extLst>
                <a:ext uri="{FF2B5EF4-FFF2-40B4-BE49-F238E27FC236}">
                  <a16:creationId xmlns:a16="http://schemas.microsoft.com/office/drawing/2014/main" xmlns="" id="{2095D635-9511-7425-8AC0-1A4D07998787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39" name="RectangleLegend3" hidden="1">
              <a:extLst>
                <a:ext uri="{FF2B5EF4-FFF2-40B4-BE49-F238E27FC236}">
                  <a16:creationId xmlns:a16="http://schemas.microsoft.com/office/drawing/2014/main" xmlns="" id="{9C55D2FB-82E2-00AC-9AFD-36EAB173B21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40" name="RectangleLegend4" hidden="1">
              <a:extLst>
                <a:ext uri="{FF2B5EF4-FFF2-40B4-BE49-F238E27FC236}">
                  <a16:creationId xmlns:a16="http://schemas.microsoft.com/office/drawing/2014/main" xmlns="" id="{4D167DFF-781B-D46B-BC77-AF67CC9A5C2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41" name="RectangleLegend5" hidden="1">
              <a:extLst>
                <a:ext uri="{FF2B5EF4-FFF2-40B4-BE49-F238E27FC236}">
                  <a16:creationId xmlns:a16="http://schemas.microsoft.com/office/drawing/2014/main" xmlns="" id="{F3C9CA53-6BB2-147F-F865-C7E3AB5D93F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42" name="Legend1" hidden="1">
              <a:extLst>
                <a:ext uri="{FF2B5EF4-FFF2-40B4-BE49-F238E27FC236}">
                  <a16:creationId xmlns:a16="http://schemas.microsoft.com/office/drawing/2014/main" xmlns="" id="{DE188F18-893F-B452-903B-9BF577919B33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3" name="Legend2" hidden="1">
              <a:extLst>
                <a:ext uri="{FF2B5EF4-FFF2-40B4-BE49-F238E27FC236}">
                  <a16:creationId xmlns:a16="http://schemas.microsoft.com/office/drawing/2014/main" xmlns="" id="{7C18555F-998D-AE1F-95D2-115C438ECB01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4" name="Legend3" hidden="1">
              <a:extLst>
                <a:ext uri="{FF2B5EF4-FFF2-40B4-BE49-F238E27FC236}">
                  <a16:creationId xmlns:a16="http://schemas.microsoft.com/office/drawing/2014/main" xmlns="" id="{7D7F2664-3266-C5DE-E6FD-CCCD0AA53D8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5" name="Legend4" hidden="1">
              <a:extLst>
                <a:ext uri="{FF2B5EF4-FFF2-40B4-BE49-F238E27FC236}">
                  <a16:creationId xmlns:a16="http://schemas.microsoft.com/office/drawing/2014/main" xmlns="" id="{7D5D248B-157A-9419-8F59-43424C03BB46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6" name="Legend5" hidden="1">
              <a:extLst>
                <a:ext uri="{FF2B5EF4-FFF2-40B4-BE49-F238E27FC236}">
                  <a16:creationId xmlns:a16="http://schemas.microsoft.com/office/drawing/2014/main" xmlns="" id="{82DAF5B6-8D72-E061-572D-7ECA5007BB45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8869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2" orient="horz" pos="3912">
          <p15:clr>
            <a:srgbClr val="5ACBF0"/>
          </p15:clr>
        </p15:guide>
        <p15:guide id="3" orient="horz" pos="1075">
          <p15:clr>
            <a:srgbClr val="F26B43"/>
          </p15:clr>
        </p15:guide>
        <p15:guide id="4" pos="7329">
          <p15:clr>
            <a:srgbClr val="F26B43"/>
          </p15:clr>
        </p15:guide>
        <p15:guide id="5" pos="345">
          <p15:clr>
            <a:srgbClr val="F26B43"/>
          </p15:clr>
        </p15:guide>
        <p15:guide id="6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图片 2" descr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46" name="图片 9" descr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106" y="5924362"/>
            <a:ext cx="3218599" cy="741543"/>
          </a:xfrm>
          <a:prstGeom prst="rect">
            <a:avLst/>
          </a:prstGeom>
          <a:ln w="12700">
            <a:miter lim="400000"/>
          </a:ln>
        </p:spPr>
      </p:pic>
      <p:sp>
        <p:nvSpPr>
          <p:cNvPr id="48" name="文本框 4"/>
          <p:cNvSpPr txBox="1"/>
          <p:nvPr/>
        </p:nvSpPr>
        <p:spPr>
          <a:xfrm>
            <a:off x="5189668" y="3059102"/>
            <a:ext cx="1812670" cy="12311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60957" tIns="60957" rIns="60957" bIns="60957">
            <a:spAutoFit/>
          </a:bodyPr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  <a:sym typeface="+mn-lt"/>
              </a:rPr>
              <a:t>资产配置部</a:t>
            </a:r>
            <a:endParaRPr kumimoji="0" lang="en-US" altLang="zh-CN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lang="en-US" altLang="zh-CN" sz="24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  <a:sym typeface="+mn-lt"/>
              </a:rPr>
              <a:t>2025.12.15</a:t>
            </a:r>
            <a:endParaRPr kumimoji="0" lang="en-US" altLang="zh-CN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9" name="文本框 8"/>
          <p:cNvSpPr txBox="1"/>
          <p:nvPr/>
        </p:nvSpPr>
        <p:spPr>
          <a:xfrm>
            <a:off x="7502302" y="5925278"/>
            <a:ext cx="4534569" cy="6566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60957" tIns="60957" rIns="60957" bIns="60957">
            <a:spAutoFit/>
          </a:bodyPr>
          <a:lstStyle/>
          <a:p>
            <a:pPr marL="0" marR="0" lvl="0" indent="0" algn="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u="sng">
                <a:solidFill>
                  <a:srgbClr val="262626"/>
                </a:solidFill>
                <a:latin typeface="华文中宋"/>
                <a:ea typeface="华文中宋"/>
                <a:cs typeface="华文中宋"/>
                <a:sym typeface="华文中宋"/>
              </a:defRPr>
            </a:pPr>
            <a:r>
              <a:rPr kumimoji="0" sz="1067" b="0" i="0" u="sng" strike="noStrike" kern="0" cap="none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宋体"/>
                <a:cs typeface="+mn-ea"/>
                <a:sym typeface="+mn-lt"/>
              </a:rPr>
              <a:t>阅读本文档即被视认为同意遵守以下条款</a:t>
            </a:r>
            <a:endParaRPr kumimoji="0" sz="1067" b="0" i="0" u="sng" strike="noStrike" kern="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宋体"/>
              <a:cs typeface="+mn-ea"/>
              <a:sym typeface="+mn-lt"/>
            </a:endParaRPr>
          </a:p>
          <a:p>
            <a:pPr marL="0" marR="0" lvl="0" indent="0" algn="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rgbClr val="808080"/>
                </a:solidFill>
                <a:latin typeface="华文中宋"/>
                <a:ea typeface="华文中宋"/>
                <a:cs typeface="华文中宋"/>
                <a:sym typeface="华文中宋"/>
              </a:defRPr>
            </a:pP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宋体"/>
                <a:cs typeface="+mn-ea"/>
                <a:sym typeface="+mn-lt"/>
              </a:rPr>
              <a:t>百年保险资管对提交的所有文档享有全部著作权和邻接权，对未经本公司书面许可擅自改编、复制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宋体"/>
              <a:cs typeface="+mn-ea"/>
              <a:sym typeface="+mn-lt"/>
            </a:endParaRPr>
          </a:p>
          <a:p>
            <a:pPr marL="0" marR="0" lvl="0" indent="0" algn="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rgbClr val="808080"/>
                </a:solidFill>
                <a:latin typeface="华文中宋"/>
                <a:ea typeface="华文中宋"/>
                <a:cs typeface="华文中宋"/>
                <a:sym typeface="华文中宋"/>
              </a:defRPr>
            </a:pP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宋体"/>
                <a:cs typeface="+mn-ea"/>
                <a:sym typeface="+mn-lt"/>
              </a:rPr>
              <a:t>模仿、剽窃、抄袭或为牟利而以其他方式使用上述作品内容的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宋体"/>
              <a:cs typeface="+mn-ea"/>
              <a:sym typeface="+mn-lt"/>
            </a:endParaRPr>
          </a:p>
          <a:p>
            <a:pPr marL="0" marR="0" lvl="0" indent="0" algn="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rgbClr val="808080"/>
                </a:solidFill>
                <a:latin typeface="华文中宋"/>
                <a:ea typeface="华文中宋"/>
                <a:cs typeface="华文中宋"/>
                <a:sym typeface="华文中宋"/>
              </a:defRPr>
            </a:pP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宋体"/>
                <a:cs typeface="+mn-ea"/>
                <a:sym typeface="+mn-lt"/>
              </a:rPr>
              <a:t>本公司讲严格追究侵权者的法律责任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宋体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9106" y="1851685"/>
            <a:ext cx="11544300" cy="77975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2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  <a:sym typeface="+mn-lt"/>
              </a:rPr>
              <a:t>宏观因子择时模型与情绪指标择时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51FF4F01-2D3D-4BD3-91BA-81FB1D5E927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5947676" y="8568419"/>
            <a:ext cx="206143" cy="338550"/>
          </a:xfrm>
        </p:spPr>
        <p:txBody>
          <a:bodyPr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altLang="zh-CN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ctr" defTabSz="325111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zh-CN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7107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BA676385-3BCA-B757-F4E0-2D2455F1A1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40F2CA73-1ACF-757A-55E3-F61C02469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4943BB4E-78C4-9B49-8AE0-43F21A3821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跌停数量占比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26179439-BCD8-7D02-463C-4C726D04F82B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跌停数量占比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0.31%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407328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9FF62C43-D645-B15D-48E7-8435E0845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A5B4A9FD-90E2-C822-DB5D-DC4D2116F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695355BC-5110-3FDD-8503-91652B26FD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两融成交额占比分位数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28FB86F2-A7D7-1C1A-1FBC-589C2C95E4B5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两融成交额占比分位数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70.7%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13848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A979A6E-BC3B-7B6A-92F9-1EEC9F8D72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ED81159F-DA23-4CDB-7791-A05CF7BAB0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F910461C-0711-E172-5880-37CDA78B79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融资净买入分位数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673CB886-8021-B1A3-19CD-3718F77C16F7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融资净买入分位数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lang="en-US" altLang="zh-CN" sz="1450" kern="0" dirty="0" smtClean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8.5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%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1385887"/>
            <a:ext cx="10363200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86947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3FEECDC-F511-A52D-14B8-9EA593F9F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78B8CE3E-369D-3849-34D8-BEAA3F449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7CA46D70-8AAF-BE3A-E5A9-433A3412B5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陆股通成交额占比分位数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2F8B0183-D030-83C2-F069-185CD2BACC66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陆股通成交额占比分位数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lang="en-US" altLang="zh-CN" sz="1450" kern="0" dirty="0" smtClean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71.9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%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760932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F4243E1-4F1F-FE9F-B3C4-4836B8882A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C5358526-7886-86FD-0EDD-1C33B66D8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F1827992-2BC1-3100-34B3-F3F6383BA7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30</a:t>
            </a: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日</a:t>
            </a:r>
            <a:r>
              <a:rPr lang="en-US" altLang="zh-CN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RSI</a:t>
            </a:r>
            <a:endParaRPr lang="zh-CN" altLang="en-US" sz="2667" b="1" kern="0" dirty="0">
              <a:solidFill>
                <a:srgbClr val="C00000"/>
              </a:solidFill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38889BB0-F196-8FCE-B3FD-815E89CA1258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30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日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RSI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lang="en-US" altLang="zh-CN" sz="1450" kern="0" dirty="0" smtClean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50.58</a:t>
            </a:r>
            <a:r>
              <a:rPr lang="zh-CN" altLang="en-US" sz="1450" kern="0" dirty="0" smtClean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。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849254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D180DC80-1BE5-55EB-A331-7DDAAD663C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33C0563F-F841-D4B0-40E8-D07349590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5A55AD09-04E7-65EE-DB6E-182FCB5BBF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股权风险溢价</a:t>
            </a:r>
            <a:r>
              <a:rPr lang="en-US" altLang="zh-CN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ERP</a:t>
            </a:r>
            <a:endParaRPr lang="zh-CN" altLang="en-US" sz="2667" b="1" kern="0" dirty="0">
              <a:solidFill>
                <a:srgbClr val="C00000"/>
              </a:solidFill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C336D3B1-79D5-ABE7-952E-9C858CAF4396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上证指数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ERP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4.31%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1385887"/>
            <a:ext cx="10363200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51107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C337D34-83D0-CE84-30E9-06F6D92889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E89A8487-B749-D9A0-C4CF-2CAAFADE2A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47999" y="6007145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43A77532-6C60-8E74-5F60-267D36C6FB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当前宏观择时</a:t>
            </a:r>
            <a:r>
              <a:rPr lang="zh-CN" altLang="en-US" sz="2667" b="1" kern="0" dirty="0" smtClean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模型维持看</a:t>
            </a:r>
            <a:r>
              <a:rPr lang="zh-CN" altLang="en-US" sz="2667" b="1" kern="0" dirty="0" smtClean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多，</a:t>
            </a: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情绪择时</a:t>
            </a:r>
            <a:r>
              <a:rPr lang="zh-CN" altLang="en-US" sz="2667" b="1" kern="0" dirty="0" smtClean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模型转为强烈看空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xmlns="" id="{A0F5529F-3471-6062-E490-335E012F2CC9}"/>
              </a:ext>
            </a:extLst>
          </p:cNvPr>
          <p:cNvSpPr/>
          <p:nvPr/>
        </p:nvSpPr>
        <p:spPr>
          <a:xfrm>
            <a:off x="408576" y="1816563"/>
            <a:ext cx="5400000" cy="2416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宏观择时模型得分</a:t>
            </a:r>
            <a:r>
              <a:rPr kumimoji="1" lang="zh-CN" altLang="en-US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为</a:t>
            </a:r>
            <a:r>
              <a:rPr kumimoji="1" lang="en-US" altLang="zh-CN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76.3%</a:t>
            </a: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，</a:t>
            </a:r>
            <a:r>
              <a:rPr kumimoji="1" lang="zh-CN" altLang="en-US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信号维持看</a:t>
            </a:r>
            <a:r>
              <a:rPr kumimoji="1" lang="zh-CN" altLang="en-US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多</a:t>
            </a:r>
            <a:endParaRPr kumimoji="1" lang="en-US" altLang="zh-CN" sz="1333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xmlns="" id="{CEF6828B-FE48-28FA-CB96-7CE65429B576}"/>
              </a:ext>
            </a:extLst>
          </p:cNvPr>
          <p:cNvSpPr/>
          <p:nvPr/>
        </p:nvSpPr>
        <p:spPr>
          <a:xfrm>
            <a:off x="6360819" y="1816563"/>
            <a:ext cx="5400000" cy="2416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情绪择时指标得分为</a:t>
            </a:r>
            <a:r>
              <a:rPr kumimoji="1" lang="en-US" altLang="zh-CN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-2.26</a:t>
            </a:r>
            <a:r>
              <a:rPr kumimoji="1" lang="zh-CN" altLang="en-US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，信号回到强烈看空区间</a:t>
            </a:r>
            <a:endParaRPr kumimoji="1" lang="en-US" altLang="zh-CN" sz="1333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FCDA1DD6-1993-F4B2-9FC8-68197E257036}"/>
              </a:ext>
            </a:extLst>
          </p:cNvPr>
          <p:cNvSpPr txBox="1"/>
          <p:nvPr/>
        </p:nvSpPr>
        <p:spPr>
          <a:xfrm>
            <a:off x="52004" y="2727098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强烈看多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xmlns="" id="{8AA3CCBA-4630-1182-9BD0-F5ADD88E70CB}"/>
              </a:ext>
            </a:extLst>
          </p:cNvPr>
          <p:cNvSpPr txBox="1"/>
          <p:nvPr/>
        </p:nvSpPr>
        <p:spPr>
          <a:xfrm>
            <a:off x="172001" y="3080570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看多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xmlns="" id="{D7CC311B-D64D-5311-28B9-9F163C19B1AB}"/>
              </a:ext>
            </a:extLst>
          </p:cNvPr>
          <p:cNvSpPr txBox="1"/>
          <p:nvPr/>
        </p:nvSpPr>
        <p:spPr>
          <a:xfrm>
            <a:off x="156010" y="3628184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中性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CEB8ED70-EFD3-2EF1-F19E-958053670E79}"/>
              </a:ext>
            </a:extLst>
          </p:cNvPr>
          <p:cNvSpPr txBox="1"/>
          <p:nvPr/>
        </p:nvSpPr>
        <p:spPr>
          <a:xfrm>
            <a:off x="177106" y="4244662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看空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xmlns="" id="{D3891ADD-D734-C799-19C0-C0635ED5C06E}"/>
              </a:ext>
            </a:extLst>
          </p:cNvPr>
          <p:cNvSpPr txBox="1"/>
          <p:nvPr/>
        </p:nvSpPr>
        <p:spPr>
          <a:xfrm>
            <a:off x="58226" y="4660073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强烈看空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xmlns="" id="{90437085-CB7D-D8E8-44D2-9FD057892314}"/>
              </a:ext>
            </a:extLst>
          </p:cNvPr>
          <p:cNvSpPr txBox="1"/>
          <p:nvPr/>
        </p:nvSpPr>
        <p:spPr>
          <a:xfrm>
            <a:off x="6018716" y="2527993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强烈看多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xmlns="" id="{41488039-63C0-C401-5A89-8E3860F0F291}"/>
              </a:ext>
            </a:extLst>
          </p:cNvPr>
          <p:cNvSpPr txBox="1"/>
          <p:nvPr/>
        </p:nvSpPr>
        <p:spPr>
          <a:xfrm>
            <a:off x="6210059" y="3115213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看多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xmlns="" id="{16392334-05A5-CC01-9975-D1A3F510F9B8}"/>
              </a:ext>
            </a:extLst>
          </p:cNvPr>
          <p:cNvSpPr txBox="1"/>
          <p:nvPr/>
        </p:nvSpPr>
        <p:spPr>
          <a:xfrm>
            <a:off x="6176916" y="3497381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中性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xmlns="" id="{89EFA3B8-C7F1-D0A3-C861-DF76DE64F9AB}"/>
              </a:ext>
            </a:extLst>
          </p:cNvPr>
          <p:cNvSpPr txBox="1"/>
          <p:nvPr/>
        </p:nvSpPr>
        <p:spPr>
          <a:xfrm>
            <a:off x="6217703" y="4016299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看空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xmlns="" id="{914C53FD-6FD6-D8EE-DC12-4634389AE903}"/>
              </a:ext>
            </a:extLst>
          </p:cNvPr>
          <p:cNvSpPr txBox="1"/>
          <p:nvPr/>
        </p:nvSpPr>
        <p:spPr>
          <a:xfrm>
            <a:off x="6073218" y="4529270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强烈看空</a:t>
            </a:r>
          </a:p>
        </p:txBody>
      </p:sp>
      <p:graphicFrame>
        <p:nvGraphicFramePr>
          <p:cNvPr id="20" name="图表 19">
            <a:extLst>
              <a:ext uri="{FF2B5EF4-FFF2-40B4-BE49-F238E27FC236}">
                <a16:creationId xmlns:xdr="http://schemas.openxmlformats.org/drawingml/2006/spreadsheetDrawing" xmlns="" xmlns:a16="http://schemas.microsoft.com/office/drawing/2014/main" xmlns:lc="http://schemas.openxmlformats.org/drawingml/2006/lockedCanvas" id="{C3FC4BE8-7D9D-43E6-96F4-56C4C98427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3954635"/>
              </p:ext>
            </p:extLst>
          </p:nvPr>
        </p:nvGraphicFramePr>
        <p:xfrm>
          <a:off x="6572972" y="2184272"/>
          <a:ext cx="5028112" cy="3411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图表 20">
            <a:extLst>
              <a:ext uri="{FF2B5EF4-FFF2-40B4-BE49-F238E27FC236}">
                <a16:creationId xmlns:xdr="http://schemas.openxmlformats.org/drawingml/2006/spreadsheetDrawing" xmlns="" xmlns:a16="http://schemas.microsoft.com/office/drawing/2014/main" xmlns:lc="http://schemas.openxmlformats.org/drawingml/2006/lockedCanvas" id="{E5C0E6F9-6F12-B3AE-0BC3-3FE589ED50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488288"/>
              </p:ext>
            </p:extLst>
          </p:nvPr>
        </p:nvGraphicFramePr>
        <p:xfrm>
          <a:off x="542784" y="2349189"/>
          <a:ext cx="4577443" cy="3081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45986763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82F636E0-9AEC-280D-12D7-0D65916741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D84842CE-51AD-E7C4-0F86-A65B40BE8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73908280-1772-7C46-5F59-01B1DD9E1C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综合择时信号为</a:t>
            </a:r>
            <a:r>
              <a:rPr lang="zh-CN" altLang="en-US" sz="2667" b="1" kern="0" dirty="0" smtClean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小幅看多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xmlns="" id="{CAA751AB-99E3-C27B-A6C3-022267270580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以组合仓位作为综合择时信号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当前目标仓位维持在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5%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；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组合实际仓位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48.4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上周并未进行调仓。</a:t>
            </a:r>
            <a:endParaRPr kumimoji="0" lang="en-US" altLang="zh-CN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306081E3-E253-CAD0-0660-972EDC58DB6A}"/>
              </a:ext>
            </a:extLst>
          </p:cNvPr>
          <p:cNvSpPr txBox="1"/>
          <p:nvPr/>
        </p:nvSpPr>
        <p:spPr>
          <a:xfrm>
            <a:off x="113007" y="6033011"/>
            <a:ext cx="9834463" cy="12003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R="0" lvl="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注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.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综合择时指标以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股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+5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债作为配置基准，宏观因子择时模型生成初始仓位：强烈看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8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看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6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中性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看空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3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强烈看空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；再根据情绪择时指标小幅调整仓位：强烈看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+1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看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+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中性不调整，看空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-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强烈看空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-1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因此信号仓位区间在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0%-9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.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在具体回测时，我们跳过了调仓幅度小于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的调仓信号；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-5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基准每年进行再平衡</a:t>
            </a:r>
          </a:p>
          <a:p>
            <a:pPr marR="0" lvl="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zh-CN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R="0" lvl="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zh-CN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6459" y="1619159"/>
            <a:ext cx="9430685" cy="3979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748274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C34B3ADB-2BFB-B701-B8B4-122929BC31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792F12D9-71E0-8C7F-1625-688E2526D1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06B52891-C0DB-DF79-FA38-D26ABFDAB4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综合择时指标策略收益率情况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2EA50494-FA58-4A7B-2F57-4AF533607EB6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近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个交易日，组合总收益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-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0.09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与基准基本持平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。</a:t>
            </a:r>
            <a:endParaRPr kumimoji="0" lang="en-US" altLang="zh-CN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5302" y="1650094"/>
            <a:ext cx="5334000" cy="393382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556" y="2759863"/>
            <a:ext cx="6200000" cy="17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008713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BE771B96-7B27-72AF-8BF9-B83BCD16E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E6EE656F-21A5-6BB4-BDC8-F0179CA79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7896BBEA-0F74-06A4-E2E1-41005305A8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综合择时指标策略长周期结果展示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2AAF50B1-C286-7D3D-1A15-72D0E9FBD744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自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020.4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以来的总收益率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78.29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最大回撤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7.44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夏普比率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.09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910" y="2394521"/>
            <a:ext cx="2952381" cy="2790476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82299" y="2238398"/>
            <a:ext cx="4217411" cy="3105127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86974" y="2297487"/>
            <a:ext cx="4095416" cy="2984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69156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87CE5000-A238-1296-0211-601303B3B5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59D6071C-8924-FB2F-63ED-C30A88AC40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宏观因子择时模型细项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7EB7E744-E9BC-D5BA-BEC6-B589B8A03DC6}"/>
              </a:ext>
            </a:extLst>
          </p:cNvPr>
          <p:cNvSpPr txBox="1"/>
          <p:nvPr/>
        </p:nvSpPr>
        <p:spPr>
          <a:xfrm>
            <a:off x="352352" y="809372"/>
            <a:ext cx="11774659" cy="7925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zh-CN" altLang="en-US" sz="14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宏观因子择时模型</a:t>
            </a:r>
            <a:r>
              <a:rPr lang="zh-CN" altLang="en-US" sz="1450" b="1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打分上升主要因</a:t>
            </a:r>
            <a:r>
              <a:rPr lang="en-US" altLang="zh-CN" sz="1450" b="1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CPI</a:t>
            </a:r>
            <a:r>
              <a:rPr lang="zh-CN" altLang="en-US" sz="1450" b="1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上行：</a:t>
            </a:r>
            <a:r>
              <a:rPr lang="en-US" altLang="zh-CN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11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r>
              <a:rPr lang="en-US" altLang="zh-CN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CPI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同比较前月上升</a:t>
            </a:r>
            <a:r>
              <a:rPr lang="en-US" altLang="zh-CN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0.5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个百分点至</a:t>
            </a:r>
            <a:r>
              <a:rPr lang="en-US" altLang="zh-CN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0.7%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，食品项环比明显强于去年、对</a:t>
            </a:r>
            <a:r>
              <a:rPr lang="en-US" altLang="zh-CN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CPI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同比读数形成支撑，其中主要驱动因素是蔬菜和鲜果价格受天气异常扰动上涨，核心</a:t>
            </a:r>
            <a:r>
              <a:rPr lang="en-US" altLang="zh-CN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CPI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同比较前月持平，为</a:t>
            </a:r>
            <a:r>
              <a:rPr lang="en-US" altLang="zh-CN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1.2%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。</a:t>
            </a:r>
            <a:r>
              <a:rPr lang="en-US" altLang="zh-CN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PPI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四季度处于震荡区间。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xmlns="" id="{24AEE667-AE95-03E8-5A15-B2074FA6A720}"/>
              </a:ext>
            </a:extLst>
          </p:cNvPr>
          <p:cNvSpPr/>
          <p:nvPr/>
        </p:nvSpPr>
        <p:spPr>
          <a:xfrm>
            <a:off x="625311" y="2619105"/>
            <a:ext cx="5749363" cy="3526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33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宏观择时模型打分</a:t>
            </a: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进一步上升，主要因为</a:t>
            </a:r>
            <a:r>
              <a:rPr kumimoji="1" lang="en-US" altLang="zh-CN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11</a:t>
            </a: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r>
              <a:rPr kumimoji="1" lang="en-US" altLang="zh-CN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CPI</a:t>
            </a: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抬升幅度较大</a:t>
            </a:r>
            <a:endParaRPr kumimoji="1" lang="en-US" altLang="zh-CN" sz="1333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xmlns="" id="{2462F58A-9B8B-9762-9704-02C387023376}"/>
              </a:ext>
            </a:extLst>
          </p:cNvPr>
          <p:cNvSpPr/>
          <p:nvPr/>
        </p:nvSpPr>
        <p:spPr>
          <a:xfrm>
            <a:off x="6537961" y="2619105"/>
            <a:ext cx="5185954" cy="3526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33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高频经济指标增速（四周均值）</a:t>
            </a:r>
            <a:endParaRPr kumimoji="1" lang="en-US" altLang="zh-CN" sz="1333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6" name="图表 5">
            <a:extLst>
              <a:ext uri="{FF2B5EF4-FFF2-40B4-BE49-F238E27FC236}">
                <a16:creationId xmlns:a16="http://schemas.microsoft.com/office/drawing/2014/main" xmlns="" id="{23E61066-D394-4C6F-B040-E0F63CAC6C62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672230" y="3188364"/>
          <a:ext cx="5702444" cy="3389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xmlns="" id="{6C9D8372-3D50-4A06-AB95-1EC8B19D485D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6537960" y="3108536"/>
          <a:ext cx="4981809" cy="322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15242304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A60D191E-15DB-1141-7B24-C005E1F4AB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A5A9678E-525F-3AB4-EEAA-FEE9731093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A08E28DA-8F7E-E474-FCFF-70C441F501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情绪择时指标细项情况</a:t>
            </a:r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xmlns="" id="{B60D5A1F-25F2-B037-7754-1C7840E7D0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5211184"/>
              </p:ext>
            </p:extLst>
          </p:nvPr>
        </p:nvGraphicFramePr>
        <p:xfrm>
          <a:off x="634906" y="2053834"/>
          <a:ext cx="5106800" cy="3149750"/>
        </p:xfrm>
        <a:graphic>
          <a:graphicData uri="http://schemas.openxmlformats.org/drawingml/2006/table">
            <a:tbl>
              <a:tblPr/>
              <a:tblGrid>
                <a:gridCol w="4252355">
                  <a:extLst>
                    <a:ext uri="{9D8B030D-6E8A-4147-A177-3AD203B41FA5}">
                      <a16:colId xmlns:a16="http://schemas.microsoft.com/office/drawing/2014/main" xmlns="" val="1779177242"/>
                    </a:ext>
                  </a:extLst>
                </a:gridCol>
                <a:gridCol w="854445">
                  <a:extLst>
                    <a:ext uri="{9D8B030D-6E8A-4147-A177-3AD203B41FA5}">
                      <a16:colId xmlns:a16="http://schemas.microsoft.com/office/drawing/2014/main" xmlns="" val="1318616992"/>
                    </a:ext>
                  </a:extLst>
                </a:gridCol>
              </a:tblGrid>
              <a:tr h="314975">
                <a:tc gridSpan="2"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zh-CN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市场情绪面指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0793550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60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日均线上方个股占比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中性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21640045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涨跌停数量占比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强烈看空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57560330"/>
                  </a:ext>
                </a:extLst>
              </a:tr>
              <a:tr h="314975">
                <a:tc gridSpan="2"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zh-CN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市场资金面指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02572218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融资融券情况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小幅看空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21094580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陆股通交易额占比历史分位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强烈看空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156595373"/>
                  </a:ext>
                </a:extLst>
              </a:tr>
              <a:tr h="314975">
                <a:tc gridSpan="2"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zh-CN" alt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市场技术面指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78908227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RSI（30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日）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小幅看空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190602381"/>
                  </a:ext>
                </a:extLst>
              </a:tr>
              <a:tr h="314975">
                <a:tc gridSpan="2"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zh-CN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市场估值面指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21687134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股权风险溢价</a:t>
                      </a:r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ERP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看空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37154910"/>
                  </a:ext>
                </a:extLst>
              </a:tr>
            </a:tbl>
          </a:graphicData>
        </a:graphic>
      </p:graphicFrame>
      <p:grpSp>
        <p:nvGrpSpPr>
          <p:cNvPr id="28" name="组合 27">
            <a:extLst>
              <a:ext uri="{FF2B5EF4-FFF2-40B4-BE49-F238E27FC236}">
                <a16:creationId xmlns:a16="http://schemas.microsoft.com/office/drawing/2014/main" xmlns="" id="{B36AC4DD-812D-F2C2-2CBA-51B0A71855FF}"/>
              </a:ext>
            </a:extLst>
          </p:cNvPr>
          <p:cNvGrpSpPr/>
          <p:nvPr/>
        </p:nvGrpSpPr>
        <p:grpSpPr>
          <a:xfrm>
            <a:off x="698594" y="980916"/>
            <a:ext cx="10858500" cy="4896168"/>
            <a:chOff x="655546" y="1162024"/>
            <a:chExt cx="10858500" cy="4896168"/>
          </a:xfrm>
        </p:grpSpPr>
        <p:grpSp>
          <p:nvGrpSpPr>
            <p:cNvPr id="29" name="组合 28">
              <a:extLst>
                <a:ext uri="{FF2B5EF4-FFF2-40B4-BE49-F238E27FC236}">
                  <a16:creationId xmlns:a16="http://schemas.microsoft.com/office/drawing/2014/main" xmlns="" id="{0ADAAA48-03C9-6221-77DC-48FE87DBB7A3}"/>
                </a:ext>
              </a:extLst>
            </p:cNvPr>
            <p:cNvGrpSpPr/>
            <p:nvPr/>
          </p:nvGrpSpPr>
          <p:grpSpPr>
            <a:xfrm>
              <a:off x="779464" y="1669970"/>
              <a:ext cx="10619804" cy="4388222"/>
              <a:chOff x="779464" y="1903769"/>
              <a:chExt cx="10619804" cy="4388222"/>
            </a:xfrm>
          </p:grpSpPr>
          <p:sp>
            <p:nvSpPr>
              <p:cNvPr id="31" name="矩形 30">
                <a:extLst>
                  <a:ext uri="{FF2B5EF4-FFF2-40B4-BE49-F238E27FC236}">
                    <a16:creationId xmlns:a16="http://schemas.microsoft.com/office/drawing/2014/main" xmlns="" id="{1CD8FFEB-1269-E04D-E254-CB2D2EEB76B0}"/>
                  </a:ext>
                </a:extLst>
              </p:cNvPr>
              <p:cNvSpPr/>
              <p:nvPr/>
            </p:nvSpPr>
            <p:spPr bwMode="auto">
              <a:xfrm>
                <a:off x="779464" y="4690159"/>
                <a:ext cx="3247529" cy="9550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ndara" panose="020E050203030302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32" name="矩形 31">
                <a:extLst>
                  <a:ext uri="{FF2B5EF4-FFF2-40B4-BE49-F238E27FC236}">
                    <a16:creationId xmlns:a16="http://schemas.microsoft.com/office/drawing/2014/main" xmlns="" id="{2606814A-AA4C-71F1-4E90-FDD53AAEEDC8}"/>
                  </a:ext>
                </a:extLst>
              </p:cNvPr>
              <p:cNvSpPr/>
              <p:nvPr/>
            </p:nvSpPr>
            <p:spPr bwMode="auto">
              <a:xfrm flipH="1">
                <a:off x="8151739" y="3132192"/>
                <a:ext cx="3247529" cy="9484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ndara" panose="020E050203030302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33" name="矩形 32">
                <a:extLst>
                  <a:ext uri="{FF2B5EF4-FFF2-40B4-BE49-F238E27FC236}">
                    <a16:creationId xmlns:a16="http://schemas.microsoft.com/office/drawing/2014/main" xmlns="" id="{2AD8E901-A8A3-8761-68E7-2CDD5148ECBC}"/>
                  </a:ext>
                </a:extLst>
              </p:cNvPr>
              <p:cNvSpPr/>
              <p:nvPr/>
            </p:nvSpPr>
            <p:spPr bwMode="auto">
              <a:xfrm flipH="1">
                <a:off x="8107753" y="4828889"/>
                <a:ext cx="3247529" cy="14631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ndara" panose="020E0502030303020204" pitchFamily="34" charset="0"/>
                  <a:ea typeface="华文楷体" panose="02010600040101010101" pitchFamily="2" charset="-122"/>
                </a:endParaRPr>
              </a:p>
            </p:txBody>
          </p:sp>
          <p:grpSp>
            <p:nvGrpSpPr>
              <p:cNvPr id="34" name="组合 33">
                <a:extLst>
                  <a:ext uri="{FF2B5EF4-FFF2-40B4-BE49-F238E27FC236}">
                    <a16:creationId xmlns:a16="http://schemas.microsoft.com/office/drawing/2014/main" xmlns="" id="{50BC34E8-55F3-BF55-B533-49E7A5203148}"/>
                  </a:ext>
                </a:extLst>
              </p:cNvPr>
              <p:cNvGrpSpPr/>
              <p:nvPr/>
            </p:nvGrpSpPr>
            <p:grpSpPr>
              <a:xfrm>
                <a:off x="6706858" y="1903769"/>
                <a:ext cx="4376164" cy="4375349"/>
                <a:chOff x="6757354" y="1027290"/>
                <a:chExt cx="4842800" cy="4841898"/>
              </a:xfrm>
            </p:grpSpPr>
            <p:grpSp>
              <p:nvGrpSpPr>
                <p:cNvPr id="35" name="组合 34">
                  <a:extLst>
                    <a:ext uri="{FF2B5EF4-FFF2-40B4-BE49-F238E27FC236}">
                      <a16:creationId xmlns:a16="http://schemas.microsoft.com/office/drawing/2014/main" xmlns="" id="{FB3C6D98-E3B4-0559-76EA-DB8D45EA2141}"/>
                    </a:ext>
                  </a:extLst>
                </p:cNvPr>
                <p:cNvGrpSpPr/>
                <p:nvPr/>
              </p:nvGrpSpPr>
              <p:grpSpPr>
                <a:xfrm>
                  <a:off x="7362970" y="1027290"/>
                  <a:ext cx="2473570" cy="2508963"/>
                  <a:chOff x="7362970" y="1027290"/>
                  <a:chExt cx="2473570" cy="2508963"/>
                </a:xfrm>
              </p:grpSpPr>
              <p:sp>
                <p:nvSpPr>
                  <p:cNvPr id="45" name="任意多边形: 形状 44">
                    <a:extLst>
                      <a:ext uri="{FF2B5EF4-FFF2-40B4-BE49-F238E27FC236}">
                        <a16:creationId xmlns:a16="http://schemas.microsoft.com/office/drawing/2014/main" xmlns="" id="{85E360D2-7264-0F47-5CBA-71B0E85B679D}"/>
                      </a:ext>
                    </a:extLst>
                  </p:cNvPr>
                  <p:cNvSpPr/>
                  <p:nvPr/>
                </p:nvSpPr>
                <p:spPr bwMode="auto">
                  <a:xfrm rot="19397468">
                    <a:off x="7362970" y="1027290"/>
                    <a:ext cx="2473570" cy="2508963"/>
                  </a:xfrm>
                  <a:custGeom>
                    <a:avLst/>
                    <a:gdLst>
                      <a:gd name="T0" fmla="*/ 3563 w 10688"/>
                      <a:gd name="T1" fmla="*/ 7062 h 10844"/>
                      <a:gd name="T2" fmla="*/ 3563 w 10688"/>
                      <a:gd name="T3" fmla="*/ 7062 h 10844"/>
                      <a:gd name="T4" fmla="*/ 4563 w 10688"/>
                      <a:gd name="T5" fmla="*/ 10749 h 10844"/>
                      <a:gd name="T6" fmla="*/ 7937 w 10688"/>
                      <a:gd name="T7" fmla="*/ 9812 h 10844"/>
                      <a:gd name="T8" fmla="*/ 9062 w 10688"/>
                      <a:gd name="T9" fmla="*/ 2782 h 10844"/>
                      <a:gd name="T10" fmla="*/ 2032 w 10688"/>
                      <a:gd name="T11" fmla="*/ 1626 h 10844"/>
                      <a:gd name="T12" fmla="*/ 0 w 10688"/>
                      <a:gd name="T13" fmla="*/ 4907 h 10844"/>
                      <a:gd name="T14" fmla="*/ 3563 w 10688"/>
                      <a:gd name="T15" fmla="*/ 7062 h 108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88" h="10844">
                        <a:moveTo>
                          <a:pt x="3563" y="7062"/>
                        </a:moveTo>
                        <a:lnTo>
                          <a:pt x="3563" y="7062"/>
                        </a:lnTo>
                        <a:cubicBezTo>
                          <a:pt x="4375" y="8187"/>
                          <a:pt x="4688" y="9500"/>
                          <a:pt x="4563" y="10749"/>
                        </a:cubicBezTo>
                        <a:cubicBezTo>
                          <a:pt x="5718" y="10843"/>
                          <a:pt x="6906" y="10562"/>
                          <a:pt x="7937" y="9812"/>
                        </a:cubicBezTo>
                        <a:cubicBezTo>
                          <a:pt x="10187" y="8187"/>
                          <a:pt x="10687" y="5032"/>
                          <a:pt x="9062" y="2782"/>
                        </a:cubicBezTo>
                        <a:cubicBezTo>
                          <a:pt x="7437" y="500"/>
                          <a:pt x="4282" y="0"/>
                          <a:pt x="2032" y="1626"/>
                        </a:cubicBezTo>
                        <a:cubicBezTo>
                          <a:pt x="907" y="2438"/>
                          <a:pt x="219" y="3657"/>
                          <a:pt x="0" y="4907"/>
                        </a:cubicBezTo>
                        <a:cubicBezTo>
                          <a:pt x="1375" y="5126"/>
                          <a:pt x="2688" y="5843"/>
                          <a:pt x="3563" y="7062"/>
                        </a:cubicBezTo>
                      </a:path>
                    </a:pathLst>
                  </a:custGeom>
                  <a:gradFill flip="none" rotWithShape="1">
                    <a:gsLst>
                      <a:gs pos="0">
                        <a:srgbClr val="C30F1B">
                          <a:lumMod val="60000"/>
                          <a:lumOff val="40000"/>
                        </a:srgbClr>
                      </a:gs>
                      <a:gs pos="75000">
                        <a:srgbClr val="C30F1B"/>
                      </a:gs>
                    </a:gsLst>
                    <a:lin ang="27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>
                    <a:outerShdw blurRad="127000" dist="63500" dir="2700000" algn="tl" rotWithShape="0">
                      <a:srgbClr val="BA9873">
                        <a:alpha val="15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/>
                      <a:ea typeface="华文楷体"/>
                      <a:cs typeface="+mn-cs"/>
                    </a:endParaRPr>
                  </a:p>
                </p:txBody>
              </p:sp>
              <p:sp>
                <p:nvSpPr>
                  <p:cNvPr id="46" name="文本框 45">
                    <a:extLst>
                      <a:ext uri="{FF2B5EF4-FFF2-40B4-BE49-F238E27FC236}">
                        <a16:creationId xmlns:a16="http://schemas.microsoft.com/office/drawing/2014/main" xmlns="" id="{662B80D9-F37C-88C9-92B1-874923565C55}"/>
                      </a:ext>
                    </a:extLst>
                  </p:cNvPr>
                  <p:cNvSpPr txBox="1"/>
                  <p:nvPr/>
                </p:nvSpPr>
                <p:spPr>
                  <a:xfrm>
                    <a:off x="8250940" y="1773940"/>
                    <a:ext cx="697627" cy="1015663"/>
                  </a:xfrm>
                  <a:prstGeom prst="rect">
                    <a:avLst/>
                  </a:prstGeom>
                  <a:noFill/>
                </p:spPr>
                <p:txBody>
                  <a:bodyPr wrap="none">
                    <a:normAutofit lnSpcReduction="10000"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6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S</a:t>
                    </a:r>
                    <a:r>
                      <a:rPr kumimoji="0" lang="en-US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entiment</a:t>
                    </a:r>
                    <a:endParaRPr kumimoji="0" lang="en-US" sz="6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华文楷体" panose="02010600040101010101" pitchFamily="2" charset="-122"/>
                    </a:endParaRPr>
                  </a:p>
                </p:txBody>
              </p:sp>
            </p:grpSp>
            <p:grpSp>
              <p:nvGrpSpPr>
                <p:cNvPr id="36" name="组合 35">
                  <a:extLst>
                    <a:ext uri="{FF2B5EF4-FFF2-40B4-BE49-F238E27FC236}">
                      <a16:creationId xmlns:a16="http://schemas.microsoft.com/office/drawing/2014/main" xmlns="" id="{569D00D8-07E7-8262-2067-85FD0F2BE4EF}"/>
                    </a:ext>
                  </a:extLst>
                </p:cNvPr>
                <p:cNvGrpSpPr/>
                <p:nvPr/>
              </p:nvGrpSpPr>
              <p:grpSpPr>
                <a:xfrm>
                  <a:off x="9090866" y="1629743"/>
                  <a:ext cx="2509288" cy="2473249"/>
                  <a:chOff x="9090866" y="1629743"/>
                  <a:chExt cx="2509288" cy="2473249"/>
                </a:xfrm>
              </p:grpSpPr>
              <p:sp>
                <p:nvSpPr>
                  <p:cNvPr id="43" name="任意多边形: 形状 42">
                    <a:extLst>
                      <a:ext uri="{FF2B5EF4-FFF2-40B4-BE49-F238E27FC236}">
                        <a16:creationId xmlns:a16="http://schemas.microsoft.com/office/drawing/2014/main" xmlns="" id="{DD5E2252-3675-8E19-555E-5E50163510D0}"/>
                      </a:ext>
                    </a:extLst>
                  </p:cNvPr>
                  <p:cNvSpPr/>
                  <p:nvPr/>
                </p:nvSpPr>
                <p:spPr bwMode="auto">
                  <a:xfrm rot="3202081">
                    <a:off x="9108885" y="1611724"/>
                    <a:ext cx="2473249" cy="2509288"/>
                  </a:xfrm>
                  <a:custGeom>
                    <a:avLst/>
                    <a:gdLst>
                      <a:gd name="T0" fmla="*/ 3563 w 10688"/>
                      <a:gd name="T1" fmla="*/ 7062 h 10844"/>
                      <a:gd name="T2" fmla="*/ 3563 w 10688"/>
                      <a:gd name="T3" fmla="*/ 7062 h 10844"/>
                      <a:gd name="T4" fmla="*/ 4563 w 10688"/>
                      <a:gd name="T5" fmla="*/ 10749 h 10844"/>
                      <a:gd name="T6" fmla="*/ 7937 w 10688"/>
                      <a:gd name="T7" fmla="*/ 9812 h 10844"/>
                      <a:gd name="T8" fmla="*/ 9062 w 10688"/>
                      <a:gd name="T9" fmla="*/ 2782 h 10844"/>
                      <a:gd name="T10" fmla="*/ 2032 w 10688"/>
                      <a:gd name="T11" fmla="*/ 1626 h 10844"/>
                      <a:gd name="T12" fmla="*/ 0 w 10688"/>
                      <a:gd name="T13" fmla="*/ 4907 h 10844"/>
                      <a:gd name="T14" fmla="*/ 3563 w 10688"/>
                      <a:gd name="T15" fmla="*/ 7062 h 108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88" h="10844">
                        <a:moveTo>
                          <a:pt x="3563" y="7062"/>
                        </a:moveTo>
                        <a:lnTo>
                          <a:pt x="3563" y="7062"/>
                        </a:lnTo>
                        <a:cubicBezTo>
                          <a:pt x="4375" y="8187"/>
                          <a:pt x="4688" y="9500"/>
                          <a:pt x="4563" y="10749"/>
                        </a:cubicBezTo>
                        <a:cubicBezTo>
                          <a:pt x="5718" y="10843"/>
                          <a:pt x="6906" y="10562"/>
                          <a:pt x="7937" y="9812"/>
                        </a:cubicBezTo>
                        <a:cubicBezTo>
                          <a:pt x="10187" y="8187"/>
                          <a:pt x="10687" y="5032"/>
                          <a:pt x="9062" y="2782"/>
                        </a:cubicBezTo>
                        <a:cubicBezTo>
                          <a:pt x="7437" y="500"/>
                          <a:pt x="4282" y="0"/>
                          <a:pt x="2032" y="1626"/>
                        </a:cubicBezTo>
                        <a:cubicBezTo>
                          <a:pt x="907" y="2438"/>
                          <a:pt x="219" y="3657"/>
                          <a:pt x="0" y="4907"/>
                        </a:cubicBezTo>
                        <a:cubicBezTo>
                          <a:pt x="1375" y="5126"/>
                          <a:pt x="2688" y="5843"/>
                          <a:pt x="3563" y="7062"/>
                        </a:cubicBezTo>
                      </a:path>
                    </a:pathLst>
                  </a:custGeom>
                  <a:gradFill flip="none" rotWithShape="1">
                    <a:gsLst>
                      <a:gs pos="0">
                        <a:srgbClr val="BA9873">
                          <a:lumMod val="60000"/>
                          <a:lumOff val="40000"/>
                        </a:srgbClr>
                      </a:gs>
                      <a:gs pos="75000">
                        <a:srgbClr val="BA9873"/>
                      </a:gs>
                    </a:gsLst>
                    <a:lin ang="27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>
                    <a:outerShdw blurRad="127000" dist="63500" dir="2700000" algn="tl" rotWithShape="0">
                      <a:srgbClr val="BA9873">
                        <a:alpha val="15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/>
                      <a:ea typeface="华文楷体"/>
                      <a:cs typeface="+mn-cs"/>
                    </a:endParaRPr>
                  </a:p>
                </p:txBody>
              </p:sp>
              <p:sp>
                <p:nvSpPr>
                  <p:cNvPr id="44" name="文本框 43">
                    <a:extLst>
                      <a:ext uri="{FF2B5EF4-FFF2-40B4-BE49-F238E27FC236}">
                        <a16:creationId xmlns:a16="http://schemas.microsoft.com/office/drawing/2014/main" xmlns="" id="{08C6B20D-B733-DB1F-61B0-3A1FE638123C}"/>
                      </a:ext>
                    </a:extLst>
                  </p:cNvPr>
                  <p:cNvSpPr txBox="1"/>
                  <p:nvPr/>
                </p:nvSpPr>
                <p:spPr>
                  <a:xfrm>
                    <a:off x="10116080" y="2351003"/>
                    <a:ext cx="910827" cy="1015663"/>
                  </a:xfrm>
                  <a:prstGeom prst="rect">
                    <a:avLst/>
                  </a:prstGeom>
                  <a:noFill/>
                </p:spPr>
                <p:txBody>
                  <a:bodyPr wrap="none">
                    <a:normAutofit lnSpcReduction="10000"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6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T</a:t>
                    </a:r>
                    <a:r>
                      <a:rPr kumimoji="0" lang="en-US" alt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echnical</a:t>
                    </a: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华文楷体" panose="02010600040101010101" pitchFamily="2" charset="-122"/>
                    </a:endParaRPr>
                  </a:p>
                </p:txBody>
              </p:sp>
            </p:grpSp>
            <p:grpSp>
              <p:nvGrpSpPr>
                <p:cNvPr id="37" name="组合 36">
                  <a:extLst>
                    <a:ext uri="{FF2B5EF4-FFF2-40B4-BE49-F238E27FC236}">
                      <a16:creationId xmlns:a16="http://schemas.microsoft.com/office/drawing/2014/main" xmlns="" id="{E6BE56F9-CB06-F028-4C2E-0E00E04C78F2}"/>
                    </a:ext>
                  </a:extLst>
                </p:cNvPr>
                <p:cNvGrpSpPr/>
                <p:nvPr/>
              </p:nvGrpSpPr>
              <p:grpSpPr>
                <a:xfrm>
                  <a:off x="8520044" y="3360226"/>
                  <a:ext cx="2473570" cy="2508962"/>
                  <a:chOff x="8520044" y="3360226"/>
                  <a:chExt cx="2473570" cy="2508962"/>
                </a:xfrm>
              </p:grpSpPr>
              <p:sp>
                <p:nvSpPr>
                  <p:cNvPr id="41" name="任意多边形: 形状 40">
                    <a:extLst>
                      <a:ext uri="{FF2B5EF4-FFF2-40B4-BE49-F238E27FC236}">
                        <a16:creationId xmlns:a16="http://schemas.microsoft.com/office/drawing/2014/main" xmlns="" id="{0E5CA2F5-F78B-5A69-214B-62AE8410A120}"/>
                      </a:ext>
                    </a:extLst>
                  </p:cNvPr>
                  <p:cNvSpPr/>
                  <p:nvPr/>
                </p:nvSpPr>
                <p:spPr bwMode="auto">
                  <a:xfrm rot="8579122">
                    <a:off x="8520044" y="3360226"/>
                    <a:ext cx="2473570" cy="2508962"/>
                  </a:xfrm>
                  <a:custGeom>
                    <a:avLst/>
                    <a:gdLst>
                      <a:gd name="T0" fmla="*/ 3563 w 10688"/>
                      <a:gd name="T1" fmla="*/ 7062 h 10844"/>
                      <a:gd name="T2" fmla="*/ 3563 w 10688"/>
                      <a:gd name="T3" fmla="*/ 7062 h 10844"/>
                      <a:gd name="T4" fmla="*/ 4563 w 10688"/>
                      <a:gd name="T5" fmla="*/ 10749 h 10844"/>
                      <a:gd name="T6" fmla="*/ 7937 w 10688"/>
                      <a:gd name="T7" fmla="*/ 9812 h 10844"/>
                      <a:gd name="T8" fmla="*/ 9062 w 10688"/>
                      <a:gd name="T9" fmla="*/ 2782 h 10844"/>
                      <a:gd name="T10" fmla="*/ 2032 w 10688"/>
                      <a:gd name="T11" fmla="*/ 1626 h 10844"/>
                      <a:gd name="T12" fmla="*/ 0 w 10688"/>
                      <a:gd name="T13" fmla="*/ 4907 h 10844"/>
                      <a:gd name="T14" fmla="*/ 3563 w 10688"/>
                      <a:gd name="T15" fmla="*/ 7062 h 108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88" h="10844">
                        <a:moveTo>
                          <a:pt x="3563" y="7062"/>
                        </a:moveTo>
                        <a:lnTo>
                          <a:pt x="3563" y="7062"/>
                        </a:lnTo>
                        <a:cubicBezTo>
                          <a:pt x="4375" y="8187"/>
                          <a:pt x="4688" y="9500"/>
                          <a:pt x="4563" y="10749"/>
                        </a:cubicBezTo>
                        <a:cubicBezTo>
                          <a:pt x="5718" y="10843"/>
                          <a:pt x="6906" y="10562"/>
                          <a:pt x="7937" y="9812"/>
                        </a:cubicBezTo>
                        <a:cubicBezTo>
                          <a:pt x="10187" y="8187"/>
                          <a:pt x="10687" y="5032"/>
                          <a:pt x="9062" y="2782"/>
                        </a:cubicBezTo>
                        <a:cubicBezTo>
                          <a:pt x="7437" y="500"/>
                          <a:pt x="4282" y="0"/>
                          <a:pt x="2032" y="1626"/>
                        </a:cubicBezTo>
                        <a:cubicBezTo>
                          <a:pt x="907" y="2438"/>
                          <a:pt x="219" y="3657"/>
                          <a:pt x="0" y="4907"/>
                        </a:cubicBezTo>
                        <a:cubicBezTo>
                          <a:pt x="1375" y="5126"/>
                          <a:pt x="2688" y="5843"/>
                          <a:pt x="3563" y="7062"/>
                        </a:cubicBezTo>
                      </a:path>
                    </a:pathLst>
                  </a:custGeom>
                  <a:gradFill flip="none" rotWithShape="1">
                    <a:gsLst>
                      <a:gs pos="0">
                        <a:srgbClr val="C8C8C8">
                          <a:lumMod val="60000"/>
                          <a:lumOff val="40000"/>
                        </a:srgbClr>
                      </a:gs>
                      <a:gs pos="75000">
                        <a:srgbClr val="C8C8C8"/>
                      </a:gs>
                    </a:gsLst>
                    <a:lin ang="27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>
                    <a:outerShdw blurRad="127000" dist="63500" dir="2700000" algn="tl" rotWithShape="0">
                      <a:srgbClr val="C8C8C8">
                        <a:alpha val="15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/>
                      <a:ea typeface="华文楷体"/>
                      <a:cs typeface="+mn-cs"/>
                    </a:endParaRPr>
                  </a:p>
                </p:txBody>
              </p:sp>
              <p:sp>
                <p:nvSpPr>
                  <p:cNvPr id="42" name="文本框 41">
                    <a:extLst>
                      <a:ext uri="{FF2B5EF4-FFF2-40B4-BE49-F238E27FC236}">
                        <a16:creationId xmlns:a16="http://schemas.microsoft.com/office/drawing/2014/main" xmlns="" id="{92BA72D0-7BD4-3DEA-4DE5-151863C0A7FB}"/>
                      </a:ext>
                    </a:extLst>
                  </p:cNvPr>
                  <p:cNvSpPr txBox="1"/>
                  <p:nvPr/>
                </p:nvSpPr>
                <p:spPr>
                  <a:xfrm>
                    <a:off x="9365536" y="4106875"/>
                    <a:ext cx="782586" cy="1015663"/>
                  </a:xfrm>
                  <a:prstGeom prst="rect">
                    <a:avLst/>
                  </a:prstGeom>
                  <a:noFill/>
                </p:spPr>
                <p:txBody>
                  <a:bodyPr wrap="none">
                    <a:normAutofit lnSpcReduction="10000"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6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V</a:t>
                    </a:r>
                    <a:r>
                      <a:rPr kumimoji="0" lang="en-US" alt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 aluation</a:t>
                    </a: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华文楷体" panose="02010600040101010101" pitchFamily="2" charset="-122"/>
                    </a:endParaRPr>
                  </a:p>
                </p:txBody>
              </p:sp>
            </p:grpSp>
            <p:grpSp>
              <p:nvGrpSpPr>
                <p:cNvPr id="38" name="组合 37">
                  <a:extLst>
                    <a:ext uri="{FF2B5EF4-FFF2-40B4-BE49-F238E27FC236}">
                      <a16:creationId xmlns:a16="http://schemas.microsoft.com/office/drawing/2014/main" xmlns="" id="{A952D8A5-F73A-AF11-1EF0-10240D3AAA06}"/>
                    </a:ext>
                  </a:extLst>
                </p:cNvPr>
                <p:cNvGrpSpPr/>
                <p:nvPr/>
              </p:nvGrpSpPr>
              <p:grpSpPr>
                <a:xfrm>
                  <a:off x="6757354" y="2805757"/>
                  <a:ext cx="2509288" cy="2473248"/>
                  <a:chOff x="6757354" y="2805757"/>
                  <a:chExt cx="2509288" cy="2473248"/>
                </a:xfrm>
              </p:grpSpPr>
              <p:sp>
                <p:nvSpPr>
                  <p:cNvPr id="39" name="任意多边形: 形状 38">
                    <a:extLst>
                      <a:ext uri="{FF2B5EF4-FFF2-40B4-BE49-F238E27FC236}">
                        <a16:creationId xmlns:a16="http://schemas.microsoft.com/office/drawing/2014/main" xmlns="" id="{AEBFC19B-5CF8-82AF-BD07-D05D728C307A}"/>
                      </a:ext>
                    </a:extLst>
                  </p:cNvPr>
                  <p:cNvSpPr/>
                  <p:nvPr/>
                </p:nvSpPr>
                <p:spPr bwMode="auto">
                  <a:xfrm rot="13978264">
                    <a:off x="6775374" y="2787737"/>
                    <a:ext cx="2473248" cy="2509288"/>
                  </a:xfrm>
                  <a:custGeom>
                    <a:avLst/>
                    <a:gdLst>
                      <a:gd name="T0" fmla="*/ 3563 w 10688"/>
                      <a:gd name="T1" fmla="*/ 7062 h 10844"/>
                      <a:gd name="T2" fmla="*/ 3563 w 10688"/>
                      <a:gd name="T3" fmla="*/ 7062 h 10844"/>
                      <a:gd name="T4" fmla="*/ 4563 w 10688"/>
                      <a:gd name="T5" fmla="*/ 10749 h 10844"/>
                      <a:gd name="T6" fmla="*/ 7937 w 10688"/>
                      <a:gd name="T7" fmla="*/ 9812 h 10844"/>
                      <a:gd name="T8" fmla="*/ 9062 w 10688"/>
                      <a:gd name="T9" fmla="*/ 2782 h 10844"/>
                      <a:gd name="T10" fmla="*/ 2032 w 10688"/>
                      <a:gd name="T11" fmla="*/ 1626 h 10844"/>
                      <a:gd name="T12" fmla="*/ 0 w 10688"/>
                      <a:gd name="T13" fmla="*/ 4907 h 10844"/>
                      <a:gd name="T14" fmla="*/ 3563 w 10688"/>
                      <a:gd name="T15" fmla="*/ 7062 h 108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88" h="10844">
                        <a:moveTo>
                          <a:pt x="3563" y="7062"/>
                        </a:moveTo>
                        <a:lnTo>
                          <a:pt x="3563" y="7062"/>
                        </a:lnTo>
                        <a:cubicBezTo>
                          <a:pt x="4375" y="8187"/>
                          <a:pt x="4688" y="9500"/>
                          <a:pt x="4563" y="10749"/>
                        </a:cubicBezTo>
                        <a:cubicBezTo>
                          <a:pt x="5718" y="10843"/>
                          <a:pt x="6906" y="10562"/>
                          <a:pt x="7937" y="9812"/>
                        </a:cubicBezTo>
                        <a:cubicBezTo>
                          <a:pt x="10187" y="8187"/>
                          <a:pt x="10687" y="5032"/>
                          <a:pt x="9062" y="2782"/>
                        </a:cubicBezTo>
                        <a:cubicBezTo>
                          <a:pt x="7437" y="500"/>
                          <a:pt x="4282" y="0"/>
                          <a:pt x="2032" y="1626"/>
                        </a:cubicBezTo>
                        <a:cubicBezTo>
                          <a:pt x="907" y="2438"/>
                          <a:pt x="219" y="3657"/>
                          <a:pt x="0" y="4907"/>
                        </a:cubicBezTo>
                        <a:cubicBezTo>
                          <a:pt x="1375" y="5126"/>
                          <a:pt x="2688" y="5843"/>
                          <a:pt x="3563" y="7062"/>
                        </a:cubicBezTo>
                      </a:path>
                    </a:pathLst>
                  </a:custGeom>
                  <a:gradFill flip="none" rotWithShape="1">
                    <a:gsLst>
                      <a:gs pos="0">
                        <a:srgbClr val="8E1515">
                          <a:lumMod val="60000"/>
                          <a:lumOff val="40000"/>
                        </a:srgbClr>
                      </a:gs>
                      <a:gs pos="75000">
                        <a:srgbClr val="8E1515"/>
                      </a:gs>
                    </a:gsLst>
                    <a:lin ang="27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>
                    <a:outerShdw blurRad="127000" dist="63500" dir="2700000" algn="tl" rotWithShape="0">
                      <a:srgbClr val="8E1515">
                        <a:alpha val="15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/>
                      <a:ea typeface="华文楷体"/>
                      <a:cs typeface="+mn-cs"/>
                    </a:endParaRPr>
                  </a:p>
                </p:txBody>
              </p:sp>
              <p:sp>
                <p:nvSpPr>
                  <p:cNvPr id="40" name="文本框 39">
                    <a:extLst>
                      <a:ext uri="{FF2B5EF4-FFF2-40B4-BE49-F238E27FC236}">
                        <a16:creationId xmlns:a16="http://schemas.microsoft.com/office/drawing/2014/main" xmlns="" id="{94309ECB-1CB8-905E-448C-D897B400304D}"/>
                      </a:ext>
                    </a:extLst>
                  </p:cNvPr>
                  <p:cNvSpPr txBox="1"/>
                  <p:nvPr/>
                </p:nvSpPr>
                <p:spPr>
                  <a:xfrm>
                    <a:off x="7596596" y="3525309"/>
                    <a:ext cx="654344" cy="1015663"/>
                  </a:xfrm>
                  <a:prstGeom prst="rect">
                    <a:avLst/>
                  </a:prstGeom>
                  <a:noFill/>
                </p:spPr>
                <p:txBody>
                  <a:bodyPr wrap="none">
                    <a:normAutofit lnSpcReduction="10000"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6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L</a:t>
                    </a:r>
                    <a:r>
                      <a:rPr kumimoji="0" lang="en-US" alt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iquidity</a:t>
                    </a:r>
                    <a:endParaRPr kumimoji="0" lang="en-US" sz="6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华文楷体" panose="02010600040101010101" pitchFamily="2" charset="-122"/>
                    </a:endParaRPr>
                  </a:p>
                </p:txBody>
              </p:sp>
            </p:grpSp>
          </p:grpSp>
        </p:grp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xmlns="" id="{8A7E93B8-78D9-C271-E5DA-FF63BF862E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5546" y="1162024"/>
              <a:ext cx="10858500" cy="65758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rtlCol="0" anchor="ctr" anchorCtr="0"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tabLst/>
                <a:defRPr/>
              </a:pPr>
              <a:endPara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ndara" panose="020E0502030303020204" pitchFamily="34" charset="0"/>
                <a:ea typeface="华文楷体" panose="0201060004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0516099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10941DE5-6494-4C4E-109D-DB79C738E4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F4B8FF25-A45B-67B6-4C1E-F0F03838E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DD30B0F5-574A-1F99-AFAC-B94C4BFA2A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60</a:t>
            </a: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日均线上方个股占比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3E52FA0F-87A6-4C33-1AF4-7C8A26C4A30C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强势股占比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30.78%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478803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3AD1CDC2-AE48-6F6C-5B4E-1F6A6E0A8C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2606AF32-45F5-D101-D16A-D7290C40E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4CA4576A-5905-4687-C91A-71515F8954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涨停数量占比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65916EFC-30ED-40B5-DD9B-EA720CEBEC9B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涨停数量占比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.65%</a:t>
            </a:r>
            <a:r>
              <a:rPr lang="zh-CN" altLang="en-US" sz="1450" kern="0" dirty="0" smtClean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。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100679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1_Office 主题​​">
  <a:themeElements>
    <a:clrScheme name="Office 主题​​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C3649"/>
      </a:accent1>
      <a:accent2>
        <a:srgbClr val="6A868F"/>
      </a:accent2>
      <a:accent3>
        <a:srgbClr val="31778D"/>
      </a:accent3>
      <a:accent4>
        <a:srgbClr val="D6C88B"/>
      </a:accent4>
      <a:accent5>
        <a:srgbClr val="D66E49"/>
      </a:accent5>
      <a:accent6>
        <a:srgbClr val="649EB2"/>
      </a:accent6>
      <a:hlink>
        <a:srgbClr val="0000FF"/>
      </a:hlink>
      <a:folHlink>
        <a:srgbClr val="FF00FF"/>
      </a:folHlink>
    </a:clrScheme>
    <a:fontScheme name="5ahktbec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2438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2438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_White">
  <a:themeElements>
    <a:clrScheme name="Custom 2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C00000"/>
      </a:accent1>
      <a:accent2>
        <a:srgbClr val="6F2926"/>
      </a:accent2>
      <a:accent3>
        <a:srgbClr val="CF7875"/>
      </a:accent3>
      <a:accent4>
        <a:srgbClr val="E5B4B2"/>
      </a:accent4>
      <a:accent5>
        <a:srgbClr val="F4E1E0"/>
      </a:accent5>
      <a:accent6>
        <a:srgbClr val="FFD147"/>
      </a:accent6>
      <a:hlink>
        <a:srgbClr val="0000FF"/>
      </a:hlink>
      <a:folHlink>
        <a:srgbClr val="800080"/>
      </a:folHlink>
    </a:clrScheme>
    <a:fontScheme name="Custom 317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4A1B19"/>
        </a:accent1>
        <a:accent2>
          <a:srgbClr val="6F2926"/>
        </a:accent2>
        <a:accent3>
          <a:srgbClr val="CF7875"/>
        </a:accent3>
        <a:accent4>
          <a:srgbClr val="E5B4B2"/>
        </a:accent4>
        <a:accent5>
          <a:srgbClr val="F4E1E0"/>
        </a:accent5>
        <a:accent6>
          <a:srgbClr val="FFD14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scarlett Lin.potx" id="{DA3DAAC1-59D6-498E-AA2D-BAFB318DA648}" vid="{144B9AF7-3219-45B9-B3E1-112F2C81400F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1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04098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自定义 1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04098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长江宏观">
    <a:dk1>
      <a:sysClr val="windowText" lastClr="000000"/>
    </a:dk1>
    <a:lt1>
      <a:sysClr val="window" lastClr="FFFFFF"/>
    </a:lt1>
    <a:dk2>
      <a:srgbClr val="004678"/>
    </a:dk2>
    <a:lt2>
      <a:srgbClr val="EEECE1"/>
    </a:lt2>
    <a:accent1>
      <a:srgbClr val="E10000"/>
    </a:accent1>
    <a:accent2>
      <a:srgbClr val="595959"/>
    </a:accent2>
    <a:accent3>
      <a:srgbClr val="DCB464"/>
    </a:accent3>
    <a:accent4>
      <a:srgbClr val="BFBFBF"/>
    </a:accent4>
    <a:accent5>
      <a:srgbClr val="FFC000"/>
    </a:accent5>
    <a:accent6>
      <a:srgbClr val="F3973E"/>
    </a:accent6>
    <a:hlink>
      <a:srgbClr val="CC9900"/>
    </a:hlink>
    <a:folHlink>
      <a:srgbClr val="7F7F7F"/>
    </a:folHlink>
  </a:clrScheme>
  <a:fontScheme name="长江宏观_PPT">
    <a:majorFont>
      <a:latin typeface="Arial"/>
      <a:ea typeface="Microsoft YaHei"/>
      <a:cs typeface=""/>
    </a:majorFont>
    <a:minorFont>
      <a:latin typeface="Arial"/>
      <a:ea typeface="Microsoft YaHe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7220</TotalTime>
  <Words>671</Words>
  <Application>Microsoft Office PowerPoint</Application>
  <PresentationFormat>宽屏</PresentationFormat>
  <Paragraphs>85</Paragraphs>
  <Slides>15</Slides>
  <Notes>15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31" baseType="lpstr">
      <vt:lpstr>等线</vt:lpstr>
      <vt:lpstr>仿宋_GB2312</vt:lpstr>
      <vt:lpstr>华文楷体</vt:lpstr>
      <vt:lpstr>楷体</vt:lpstr>
      <vt:lpstr>宋体</vt:lpstr>
      <vt:lpstr>Microsoft YaHei</vt:lpstr>
      <vt:lpstr>Microsoft YaHei</vt:lpstr>
      <vt:lpstr>Arial</vt:lpstr>
      <vt:lpstr>Candara</vt:lpstr>
      <vt:lpstr>Georgia</vt:lpstr>
      <vt:lpstr>Helvetica</vt:lpstr>
      <vt:lpstr>Segoe UI</vt:lpstr>
      <vt:lpstr>Wingdings</vt:lpstr>
      <vt:lpstr>1_Office 主题​​</vt:lpstr>
      <vt:lpstr>2_White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张 蓉蓉</dc:creator>
  <cp:lastModifiedBy>丁皓晨</cp:lastModifiedBy>
  <cp:revision>641</cp:revision>
  <dcterms:created xsi:type="dcterms:W3CDTF">2024-11-25T11:58:13Z</dcterms:created>
  <dcterms:modified xsi:type="dcterms:W3CDTF">2025-12-15T03:21:34Z</dcterms:modified>
</cp:coreProperties>
</file>